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3"/>
    <p:sldId id="274" r:id="rId4"/>
    <p:sldId id="258" r:id="rId5"/>
    <p:sldId id="285" r:id="rId6"/>
    <p:sldId id="270" r:id="rId7"/>
    <p:sldId id="276" r:id="rId8"/>
    <p:sldId id="288" r:id="rId9"/>
    <p:sldId id="271" r:id="rId10"/>
    <p:sldId id="280" r:id="rId11"/>
    <p:sldId id="272" r:id="rId12"/>
    <p:sldId id="293" r:id="rId13"/>
    <p:sldId id="295" r:id="rId14"/>
    <p:sldId id="261" r:id="rId15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ABB3"/>
    <a:srgbClr val="E6E6E6"/>
    <a:srgbClr val="FAB534"/>
    <a:srgbClr val="FFDA93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440" autoAdjust="0"/>
    <p:restoredTop sz="96201" autoAdjust="0"/>
  </p:normalViewPr>
  <p:slideViewPr>
    <p:cSldViewPr snapToGrid="0">
      <p:cViewPr varScale="1">
        <p:scale>
          <a:sx n="91" d="100"/>
          <a:sy n="91" d="100"/>
        </p:scale>
        <p:origin x="68" y="2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199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20" Type="http://schemas.openxmlformats.org/officeDocument/2006/relationships/tableStyles" Target="tableStyles.xml"/><Relationship Id="rId2" Type="http://schemas.openxmlformats.org/officeDocument/2006/relationships/theme" Target="theme/theme1.xml"/><Relationship Id="rId19" Type="http://schemas.openxmlformats.org/officeDocument/2006/relationships/viewProps" Target="viewProps.xml"/><Relationship Id="rId18" Type="http://schemas.openxmlformats.org/officeDocument/2006/relationships/presProps" Target="presProps.xml"/><Relationship Id="rId17" Type="http://schemas.openxmlformats.org/officeDocument/2006/relationships/handoutMaster" Target="handoutMasters/handoutMaster1.xml"/><Relationship Id="rId16" Type="http://schemas.openxmlformats.org/officeDocument/2006/relationships/notesMaster" Target="notesMasters/notesMaster1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B076D3-E097-4D3E-89C8-FC671BBB14DD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344263-BEEF-4DFF-AF79-EE4CD9854648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6295436" y="983795"/>
            <a:ext cx="4919967" cy="4288670"/>
          </a:xfrm>
          <a:prstGeom prst="rect">
            <a:avLst/>
          </a:prstGeom>
          <a:noFill/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" name="矩形 15"/>
          <p:cNvSpPr/>
          <p:nvPr userDrawn="1"/>
        </p:nvSpPr>
        <p:spPr>
          <a:xfrm>
            <a:off x="6600521" y="1284665"/>
            <a:ext cx="4919967" cy="428867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976596" y="1565789"/>
            <a:ext cx="5866380" cy="139786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21" name="副标题 220"/>
          <p:cNvSpPr>
            <a:spLocks noGrp="1"/>
          </p:cNvSpPr>
          <p:nvPr userDrawn="1">
            <p:ph type="subTitle" idx="1"/>
          </p:nvPr>
        </p:nvSpPr>
        <p:spPr>
          <a:xfrm>
            <a:off x="975848" y="2981279"/>
            <a:ext cx="5866380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119" name="文本占位符 118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75847" y="4862556"/>
            <a:ext cx="586638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8" name="文本占位符 17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75846" y="4469861"/>
            <a:ext cx="2338853" cy="296271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885024" y="2245979"/>
            <a:ext cx="5029982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886140" y="3141329"/>
            <a:ext cx="5029982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23" name="矩形 22"/>
          <p:cNvSpPr/>
          <p:nvPr userDrawn="1"/>
        </p:nvSpPr>
        <p:spPr>
          <a:xfrm>
            <a:off x="1114425" y="1447282"/>
            <a:ext cx="3890639" cy="339141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" name="矩形 17"/>
          <p:cNvSpPr/>
          <p:nvPr userDrawn="1"/>
        </p:nvSpPr>
        <p:spPr>
          <a:xfrm>
            <a:off x="2949140" y="2202058"/>
            <a:ext cx="2562659" cy="1938142"/>
          </a:xfrm>
          <a:prstGeom prst="rect">
            <a:avLst/>
          </a:prstGeom>
          <a:noFill/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697194" y="1971117"/>
            <a:ext cx="4823293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697194" y="4453072"/>
            <a:ext cx="4823293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7195" y="4156801"/>
            <a:ext cx="482329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870948" y="1028700"/>
            <a:ext cx="5225052" cy="4589540"/>
            <a:chOff x="6295436" y="727830"/>
            <a:chExt cx="5225052" cy="4589540"/>
          </a:xfrm>
        </p:grpSpPr>
        <p:sp>
          <p:nvSpPr>
            <p:cNvPr id="25" name="矩形 24"/>
            <p:cNvSpPr/>
            <p:nvPr userDrawn="1"/>
          </p:nvSpPr>
          <p:spPr>
            <a:xfrm>
              <a:off x="6295436" y="727830"/>
              <a:ext cx="4919967" cy="4288670"/>
            </a:xfrm>
            <a:prstGeom prst="rect">
              <a:avLst/>
            </a:prstGeom>
            <a:noFill/>
            <a:ln w="762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6" name="矩形 25"/>
            <p:cNvSpPr/>
            <p:nvPr userDrawn="1"/>
          </p:nvSpPr>
          <p:spPr>
            <a:xfrm>
              <a:off x="6600521" y="1028700"/>
              <a:ext cx="4919967" cy="4288670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slideLayout" Target="../slideLayouts/slideLayout1.xml"/><Relationship Id="rId3" Type="http://schemas.openxmlformats.org/officeDocument/2006/relationships/themeOverride" Target="../theme/themeOverride1.xml"/><Relationship Id="rId2" Type="http://schemas.openxmlformats.org/officeDocument/2006/relationships/image" Target="../media/image2.emf"/><Relationship Id="rId1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slideLayout" Target="../slideLayouts/slideLayout6.xml"/><Relationship Id="rId3" Type="http://schemas.openxmlformats.org/officeDocument/2006/relationships/themeOverride" Target="../theme/themeOverride6.xml"/><Relationship Id="rId2" Type="http://schemas.openxmlformats.org/officeDocument/2006/relationships/image" Target="../media/image2.emf"/><Relationship Id="rId1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图片 -1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开题</a:t>
            </a:r>
            <a:r>
              <a:rPr lang="zh-CN" altLang="en-US" dirty="0"/>
              <a:t>答辩</a:t>
            </a:r>
            <a:endParaRPr lang="zh-CN" altLang="en-US" dirty="0"/>
          </a:p>
        </p:txBody>
      </p:sp>
      <p:sp>
        <p:nvSpPr>
          <p:cNvPr id="6" name="副标题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/>
              <a:t>SaaS平台授权系统的设计与开发</a:t>
            </a:r>
            <a:endParaRPr lang="en-US" altLang="zh-CN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0"/>
          </p:nvPr>
        </p:nvSpPr>
        <p:spPr>
          <a:xfrm>
            <a:off x="975995" y="4469765"/>
            <a:ext cx="2566670" cy="296545"/>
          </a:xfrm>
        </p:spPr>
        <p:txBody>
          <a:bodyPr/>
          <a:lstStyle/>
          <a:p>
            <a:r>
              <a:rPr lang="zh-CN" altLang="en-US"/>
              <a:t>软件工程师</a:t>
            </a:r>
            <a:r>
              <a:rPr lang="en-US" altLang="zh-CN"/>
              <a:t>191</a:t>
            </a:r>
            <a:r>
              <a:rPr lang="zh-CN" altLang="en-US"/>
              <a:t>班</a:t>
            </a:r>
            <a:r>
              <a:rPr lang="en-US" altLang="zh-CN"/>
              <a:t>——</a:t>
            </a:r>
            <a:r>
              <a:rPr lang="zh-CN" altLang="en-US"/>
              <a:t>黄希</a:t>
            </a:r>
            <a:endParaRPr lang="zh-CN" altLang="en-US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计划</a:t>
            </a:r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683554" y="2759231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计划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47" name="矩形: 圆角 46"/>
          <p:cNvSpPr/>
          <p:nvPr/>
        </p:nvSpPr>
        <p:spPr>
          <a:xfrm>
            <a:off x="4848445" y="2435510"/>
            <a:ext cx="2495109" cy="3279994"/>
          </a:xfrm>
          <a:prstGeom prst="roundRect">
            <a:avLst>
              <a:gd name="adj" fmla="val 9051"/>
            </a:avLst>
          </a:prstGeom>
          <a:solidFill>
            <a:schemeClr val="bg1">
              <a:lumMod val="7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48" name="矩形: 圆角 47"/>
          <p:cNvSpPr/>
          <p:nvPr/>
        </p:nvSpPr>
        <p:spPr>
          <a:xfrm>
            <a:off x="5019709" y="2670646"/>
            <a:ext cx="2152581" cy="2896143"/>
          </a:xfrm>
          <a:prstGeom prst="roundRect">
            <a:avLst>
              <a:gd name="adj" fmla="val 9051"/>
            </a:avLst>
          </a:prstGeom>
          <a:solidFill>
            <a:schemeClr val="bg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49" name="椭圆 48"/>
          <p:cNvSpPr/>
          <p:nvPr/>
        </p:nvSpPr>
        <p:spPr>
          <a:xfrm>
            <a:off x="5294591" y="2794906"/>
            <a:ext cx="169370" cy="169370"/>
          </a:xfrm>
          <a:prstGeom prst="ellipse">
            <a:avLst/>
          </a:prstGeom>
          <a:solidFill>
            <a:schemeClr val="bg1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0" name="椭圆 49"/>
          <p:cNvSpPr/>
          <p:nvPr/>
        </p:nvSpPr>
        <p:spPr>
          <a:xfrm>
            <a:off x="5635225" y="2794906"/>
            <a:ext cx="169370" cy="169370"/>
          </a:xfrm>
          <a:prstGeom prst="ellipse">
            <a:avLst/>
          </a:prstGeom>
          <a:solidFill>
            <a:schemeClr val="bg1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1" name="椭圆 50"/>
          <p:cNvSpPr/>
          <p:nvPr/>
        </p:nvSpPr>
        <p:spPr>
          <a:xfrm>
            <a:off x="6385169" y="2794906"/>
            <a:ext cx="169370" cy="169370"/>
          </a:xfrm>
          <a:prstGeom prst="ellipse">
            <a:avLst/>
          </a:prstGeom>
          <a:solidFill>
            <a:schemeClr val="bg1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2" name="椭圆 51"/>
          <p:cNvSpPr/>
          <p:nvPr/>
        </p:nvSpPr>
        <p:spPr>
          <a:xfrm>
            <a:off x="6725802" y="2794906"/>
            <a:ext cx="169370" cy="169370"/>
          </a:xfrm>
          <a:prstGeom prst="ellipse">
            <a:avLst/>
          </a:prstGeom>
          <a:solidFill>
            <a:schemeClr val="bg1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3" name="矩形: 圆角 52"/>
          <p:cNvSpPr/>
          <p:nvPr/>
        </p:nvSpPr>
        <p:spPr>
          <a:xfrm>
            <a:off x="5330737" y="2278534"/>
            <a:ext cx="97077" cy="6320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4" name="矩形: 圆角 53"/>
          <p:cNvSpPr/>
          <p:nvPr/>
        </p:nvSpPr>
        <p:spPr>
          <a:xfrm>
            <a:off x="5671371" y="2278534"/>
            <a:ext cx="97077" cy="6320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5" name="矩形: 圆角 54"/>
          <p:cNvSpPr/>
          <p:nvPr/>
        </p:nvSpPr>
        <p:spPr>
          <a:xfrm>
            <a:off x="6421315" y="2278534"/>
            <a:ext cx="97077" cy="6320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6" name="矩形: 圆角 55"/>
          <p:cNvSpPr/>
          <p:nvPr/>
        </p:nvSpPr>
        <p:spPr>
          <a:xfrm>
            <a:off x="6761948" y="2278534"/>
            <a:ext cx="97077" cy="6320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29" name="椭圆 28"/>
          <p:cNvSpPr/>
          <p:nvPr/>
        </p:nvSpPr>
        <p:spPr>
          <a:xfrm>
            <a:off x="5019709" y="3312721"/>
            <a:ext cx="785418" cy="7854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0" name="椭圆 29"/>
          <p:cNvSpPr/>
          <p:nvPr/>
        </p:nvSpPr>
        <p:spPr>
          <a:xfrm>
            <a:off x="6386872" y="3312721"/>
            <a:ext cx="785418" cy="7854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1" name="椭圆 30"/>
          <p:cNvSpPr/>
          <p:nvPr/>
        </p:nvSpPr>
        <p:spPr>
          <a:xfrm>
            <a:off x="5623853" y="3233284"/>
            <a:ext cx="944292" cy="944292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32" name="任意多边形: 形状 31"/>
          <p:cNvSpPr/>
          <p:nvPr/>
        </p:nvSpPr>
        <p:spPr bwMode="auto">
          <a:xfrm>
            <a:off x="5897953" y="3534650"/>
            <a:ext cx="396092" cy="341560"/>
          </a:xfrm>
          <a:custGeom>
            <a:avLst/>
            <a:gdLst/>
            <a:ahLst/>
            <a:cxnLst>
              <a:cxn ang="0">
                <a:pos x="64" y="51"/>
              </a:cxn>
              <a:cxn ang="0">
                <a:pos x="60" y="55"/>
              </a:cxn>
              <a:cxn ang="0">
                <a:pos x="49" y="55"/>
              </a:cxn>
              <a:cxn ang="0">
                <a:pos x="45" y="51"/>
              </a:cxn>
              <a:cxn ang="0">
                <a:pos x="45" y="40"/>
              </a:cxn>
              <a:cxn ang="0">
                <a:pos x="49" y="36"/>
              </a:cxn>
              <a:cxn ang="0">
                <a:pos x="52" y="36"/>
              </a:cxn>
              <a:cxn ang="0">
                <a:pos x="52" y="30"/>
              </a:cxn>
              <a:cxn ang="0">
                <a:pos x="34" y="30"/>
              </a:cxn>
              <a:cxn ang="0">
                <a:pos x="34" y="36"/>
              </a:cxn>
              <a:cxn ang="0">
                <a:pos x="37" y="36"/>
              </a:cxn>
              <a:cxn ang="0">
                <a:pos x="41" y="40"/>
              </a:cxn>
              <a:cxn ang="0">
                <a:pos x="41" y="51"/>
              </a:cxn>
              <a:cxn ang="0">
                <a:pos x="37" y="55"/>
              </a:cxn>
              <a:cxn ang="0">
                <a:pos x="26" y="55"/>
              </a:cxn>
              <a:cxn ang="0">
                <a:pos x="23" y="51"/>
              </a:cxn>
              <a:cxn ang="0">
                <a:pos x="23" y="40"/>
              </a:cxn>
              <a:cxn ang="0">
                <a:pos x="26" y="36"/>
              </a:cxn>
              <a:cxn ang="0">
                <a:pos x="29" y="36"/>
              </a:cxn>
              <a:cxn ang="0">
                <a:pos x="29" y="30"/>
              </a:cxn>
              <a:cxn ang="0">
                <a:pos x="11" y="30"/>
              </a:cxn>
              <a:cxn ang="0">
                <a:pos x="11" y="36"/>
              </a:cxn>
              <a:cxn ang="0">
                <a:pos x="15" y="36"/>
              </a:cxn>
              <a:cxn ang="0">
                <a:pos x="18" y="40"/>
              </a:cxn>
              <a:cxn ang="0">
                <a:pos x="18" y="51"/>
              </a:cxn>
              <a:cxn ang="0">
                <a:pos x="15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6"/>
              </a:cxn>
              <a:cxn ang="0">
                <a:pos x="7" y="36"/>
              </a:cxn>
              <a:cxn ang="0">
                <a:pos x="7" y="30"/>
              </a:cxn>
              <a:cxn ang="0">
                <a:pos x="11" y="25"/>
              </a:cxn>
              <a:cxn ang="0">
                <a:pos x="29" y="25"/>
              </a:cxn>
              <a:cxn ang="0">
                <a:pos x="29" y="18"/>
              </a:cxn>
              <a:cxn ang="0">
                <a:pos x="26" y="18"/>
              </a:cxn>
              <a:cxn ang="0">
                <a:pos x="23" y="15"/>
              </a:cxn>
              <a:cxn ang="0">
                <a:pos x="23" y="3"/>
              </a:cxn>
              <a:cxn ang="0">
                <a:pos x="26" y="0"/>
              </a:cxn>
              <a:cxn ang="0">
                <a:pos x="37" y="0"/>
              </a:cxn>
              <a:cxn ang="0">
                <a:pos x="41" y="3"/>
              </a:cxn>
              <a:cxn ang="0">
                <a:pos x="41" y="15"/>
              </a:cxn>
              <a:cxn ang="0">
                <a:pos x="37" y="18"/>
              </a:cxn>
              <a:cxn ang="0">
                <a:pos x="34" y="18"/>
              </a:cxn>
              <a:cxn ang="0">
                <a:pos x="34" y="25"/>
              </a:cxn>
              <a:cxn ang="0">
                <a:pos x="52" y="25"/>
              </a:cxn>
              <a:cxn ang="0">
                <a:pos x="57" y="30"/>
              </a:cxn>
              <a:cxn ang="0">
                <a:pos x="57" y="36"/>
              </a:cxn>
              <a:cxn ang="0">
                <a:pos x="60" y="36"/>
              </a:cxn>
              <a:cxn ang="0">
                <a:pos x="64" y="40"/>
              </a:cxn>
              <a:cxn ang="0">
                <a:pos x="64" y="51"/>
              </a:cxn>
            </a:cxnLst>
            <a:rect l="0" t="0" r="r" b="b"/>
            <a:pathLst>
              <a:path w="64" h="55">
                <a:moveTo>
                  <a:pt x="64" y="51"/>
                </a:moveTo>
                <a:cubicBezTo>
                  <a:pt x="64" y="53"/>
                  <a:pt x="62" y="55"/>
                  <a:pt x="60" y="55"/>
                </a:cubicBezTo>
                <a:cubicBezTo>
                  <a:pt x="49" y="55"/>
                  <a:pt x="49" y="55"/>
                  <a:pt x="49" y="55"/>
                </a:cubicBezTo>
                <a:cubicBezTo>
                  <a:pt x="47" y="55"/>
                  <a:pt x="45" y="53"/>
                  <a:pt x="45" y="51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38"/>
                  <a:pt x="47" y="36"/>
                  <a:pt x="49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0"/>
                  <a:pt x="52" y="30"/>
                  <a:pt x="52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6"/>
                  <a:pt x="34" y="36"/>
                  <a:pt x="34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9" y="36"/>
                  <a:pt x="41" y="38"/>
                  <a:pt x="41" y="40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3"/>
                  <a:pt x="39" y="55"/>
                  <a:pt x="37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4" y="55"/>
                  <a:pt x="23" y="53"/>
                  <a:pt x="23" y="51"/>
                </a:cubicBezTo>
                <a:cubicBezTo>
                  <a:pt x="23" y="40"/>
                  <a:pt x="23" y="40"/>
                  <a:pt x="23" y="40"/>
                </a:cubicBezTo>
                <a:cubicBezTo>
                  <a:pt x="23" y="38"/>
                  <a:pt x="24" y="36"/>
                  <a:pt x="26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0"/>
                  <a:pt x="29" y="30"/>
                  <a:pt x="29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6"/>
                  <a:pt x="11" y="36"/>
                  <a:pt x="11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6"/>
                  <a:pt x="18" y="38"/>
                  <a:pt x="18" y="40"/>
                </a:cubicBezTo>
                <a:cubicBezTo>
                  <a:pt x="18" y="51"/>
                  <a:pt x="18" y="51"/>
                  <a:pt x="18" y="51"/>
                </a:cubicBezTo>
                <a:cubicBezTo>
                  <a:pt x="18" y="53"/>
                  <a:pt x="17" y="55"/>
                  <a:pt x="15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6"/>
                  <a:pt x="3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27"/>
                  <a:pt x="9" y="25"/>
                  <a:pt x="11" y="25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18"/>
                  <a:pt x="29" y="18"/>
                  <a:pt x="2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4" y="18"/>
                  <a:pt x="23" y="17"/>
                  <a:pt x="23" y="15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4" y="0"/>
                  <a:pt x="26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41" y="1"/>
                  <a:pt x="41" y="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7"/>
                  <a:pt x="39" y="18"/>
                  <a:pt x="37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25"/>
                  <a:pt x="34" y="25"/>
                  <a:pt x="34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5" y="25"/>
                  <a:pt x="57" y="27"/>
                  <a:pt x="57" y="30"/>
                </a:cubicBezTo>
                <a:cubicBezTo>
                  <a:pt x="57" y="36"/>
                  <a:pt x="57" y="36"/>
                  <a:pt x="57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2" y="36"/>
                  <a:pt x="64" y="38"/>
                  <a:pt x="64" y="40"/>
                </a:cubicBezTo>
                <a:lnTo>
                  <a:pt x="64" y="5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</a:p>
        </p:txBody>
      </p:sp>
      <p:sp>
        <p:nvSpPr>
          <p:cNvPr id="33" name="椭圆 32"/>
          <p:cNvSpPr/>
          <p:nvPr/>
        </p:nvSpPr>
        <p:spPr>
          <a:xfrm>
            <a:off x="5019709" y="4374581"/>
            <a:ext cx="785418" cy="7854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4" name="椭圆 33"/>
          <p:cNvSpPr/>
          <p:nvPr/>
        </p:nvSpPr>
        <p:spPr>
          <a:xfrm>
            <a:off x="6386872" y="4374581"/>
            <a:ext cx="785418" cy="7854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5" name="椭圆 34"/>
          <p:cNvSpPr/>
          <p:nvPr/>
        </p:nvSpPr>
        <p:spPr>
          <a:xfrm>
            <a:off x="5623853" y="4295144"/>
            <a:ext cx="944292" cy="944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36" name="任意多边形: 形状 35"/>
          <p:cNvSpPr/>
          <p:nvPr/>
        </p:nvSpPr>
        <p:spPr bwMode="auto">
          <a:xfrm>
            <a:off x="5885036" y="4572115"/>
            <a:ext cx="421926" cy="390350"/>
          </a:xfrm>
          <a:custGeom>
            <a:avLst/>
            <a:gdLst/>
            <a:ahLst/>
            <a:cxnLst>
              <a:cxn ang="0">
                <a:pos x="39" y="36"/>
              </a:cxn>
              <a:cxn ang="0">
                <a:pos x="41" y="44"/>
              </a:cxn>
              <a:cxn ang="0">
                <a:pos x="35" y="50"/>
              </a:cxn>
              <a:cxn ang="0">
                <a:pos x="27" y="53"/>
              </a:cxn>
              <a:cxn ang="0">
                <a:pos x="18" y="53"/>
              </a:cxn>
              <a:cxn ang="0">
                <a:pos x="11" y="50"/>
              </a:cxn>
              <a:cxn ang="0">
                <a:pos x="4" y="44"/>
              </a:cxn>
              <a:cxn ang="0">
                <a:pos x="6" y="36"/>
              </a:cxn>
              <a:cxn ang="0">
                <a:pos x="0" y="28"/>
              </a:cxn>
              <a:cxn ang="0">
                <a:pos x="7" y="23"/>
              </a:cxn>
              <a:cxn ang="0">
                <a:pos x="4" y="18"/>
              </a:cxn>
              <a:cxn ang="0">
                <a:pos x="15" y="16"/>
              </a:cxn>
              <a:cxn ang="0">
                <a:pos x="19" y="8"/>
              </a:cxn>
              <a:cxn ang="0">
                <a:pos x="28" y="15"/>
              </a:cxn>
              <a:cxn ang="0">
                <a:pos x="35" y="12"/>
              </a:cxn>
              <a:cxn ang="0">
                <a:pos x="41" y="19"/>
              </a:cxn>
              <a:cxn ang="0">
                <a:pos x="45" y="27"/>
              </a:cxn>
              <a:cxn ang="0">
                <a:pos x="23" y="22"/>
              </a:cxn>
              <a:cxn ang="0">
                <a:pos x="32" y="31"/>
              </a:cxn>
              <a:cxn ang="0">
                <a:pos x="63" y="16"/>
              </a:cxn>
              <a:cxn ang="0">
                <a:pos x="64" y="24"/>
              </a:cxn>
              <a:cxn ang="0">
                <a:pos x="55" y="22"/>
              </a:cxn>
              <a:cxn ang="0">
                <a:pos x="46" y="24"/>
              </a:cxn>
              <a:cxn ang="0">
                <a:pos x="46" y="16"/>
              </a:cxn>
              <a:cxn ang="0">
                <a:pos x="46" y="9"/>
              </a:cxn>
              <a:cxn ang="0">
                <a:pos x="46" y="2"/>
              </a:cxn>
              <a:cxn ang="0">
                <a:pos x="55" y="4"/>
              </a:cxn>
              <a:cxn ang="0">
                <a:pos x="59" y="0"/>
              </a:cxn>
              <a:cxn ang="0">
                <a:pos x="62" y="7"/>
              </a:cxn>
              <a:cxn ang="0">
                <a:pos x="68" y="15"/>
              </a:cxn>
              <a:cxn ang="0">
                <a:pos x="62" y="55"/>
              </a:cxn>
              <a:cxn ang="0">
                <a:pos x="59" y="63"/>
              </a:cxn>
              <a:cxn ang="0">
                <a:pos x="54" y="59"/>
              </a:cxn>
              <a:cxn ang="0">
                <a:pos x="45" y="60"/>
              </a:cxn>
              <a:cxn ang="0">
                <a:pos x="41" y="52"/>
              </a:cxn>
              <a:cxn ang="0">
                <a:pos x="47" y="44"/>
              </a:cxn>
              <a:cxn ang="0">
                <a:pos x="50" y="36"/>
              </a:cxn>
              <a:cxn ang="0">
                <a:pos x="56" y="40"/>
              </a:cxn>
              <a:cxn ang="0">
                <a:pos x="64" y="39"/>
              </a:cxn>
              <a:cxn ang="0">
                <a:pos x="63" y="46"/>
              </a:cxn>
              <a:cxn ang="0">
                <a:pos x="55" y="8"/>
              </a:cxn>
              <a:cxn ang="0">
                <a:pos x="59" y="13"/>
              </a:cxn>
              <a:cxn ang="0">
                <a:pos x="50" y="49"/>
              </a:cxn>
              <a:cxn ang="0">
                <a:pos x="55" y="45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9525">
            <a:noFill/>
            <a:rou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</a:p>
        </p:txBody>
      </p:sp>
      <p:cxnSp>
        <p:nvCxnSpPr>
          <p:cNvPr id="37" name="直接连接符 36"/>
          <p:cNvCxnSpPr/>
          <p:nvPr/>
        </p:nvCxnSpPr>
        <p:spPr>
          <a:xfrm flipH="1">
            <a:off x="669925" y="4476739"/>
            <a:ext cx="401637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矩形 37"/>
          <p:cNvSpPr/>
          <p:nvPr/>
        </p:nvSpPr>
        <p:spPr bwMode="auto">
          <a:xfrm>
            <a:off x="458470" y="1992630"/>
            <a:ext cx="4116070" cy="804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200" dirty="0"/>
              <a:t>（1）调研并分析，常见软件服务公司的软件版权的控制方式，分析并归纳软件服务公司在软件授权中的需求，设计出良好的解决方案。</a:t>
            </a:r>
            <a:endParaRPr lang="en-US" altLang="zh-CN" sz="1200" dirty="0"/>
          </a:p>
        </p:txBody>
      </p:sp>
      <p:sp>
        <p:nvSpPr>
          <p:cNvPr id="40" name="矩形 39"/>
          <p:cNvSpPr/>
          <p:nvPr/>
        </p:nvSpPr>
        <p:spPr bwMode="auto">
          <a:xfrm>
            <a:off x="458470" y="2964180"/>
            <a:ext cx="3827780" cy="633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200" dirty="0"/>
              <a:t>（2）分析当前国内外流行的软件授权维护方式，以及软件授权的管理方案。</a:t>
            </a:r>
            <a:endParaRPr lang="en-US" altLang="zh-CN" sz="1200" dirty="0"/>
          </a:p>
        </p:txBody>
      </p:sp>
      <p:sp>
        <p:nvSpPr>
          <p:cNvPr id="41" name="矩形 40"/>
          <p:cNvSpPr/>
          <p:nvPr/>
        </p:nvSpPr>
        <p:spPr bwMode="auto">
          <a:xfrm>
            <a:off x="458470" y="3724275"/>
            <a:ext cx="4041775" cy="576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200" dirty="0"/>
              <a:t>（3）设计与指定相关的数据结构，使开发的系统能够提供灵活的授权服务。</a:t>
            </a:r>
            <a:endParaRPr lang="en-US" altLang="zh-CN" sz="1200" dirty="0"/>
          </a:p>
        </p:txBody>
      </p:sp>
      <p:cxnSp>
        <p:nvCxnSpPr>
          <p:cNvPr id="42" name="直接连接符 41"/>
          <p:cNvCxnSpPr/>
          <p:nvPr/>
        </p:nvCxnSpPr>
        <p:spPr>
          <a:xfrm flipH="1">
            <a:off x="7617460" y="4769814"/>
            <a:ext cx="401637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矩形 42"/>
          <p:cNvSpPr/>
          <p:nvPr/>
        </p:nvSpPr>
        <p:spPr bwMode="auto">
          <a:xfrm>
            <a:off x="7617360" y="3346741"/>
            <a:ext cx="3827879" cy="57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altLang="zh-CN" sz="1200" dirty="0"/>
              <a:t>（4）调研相关的加密算法以及辅助授权认证的系统特性，实现授权的安全性和可控性。</a:t>
            </a:r>
            <a:endParaRPr lang="en-US" altLang="zh-CN" sz="1200" dirty="0"/>
          </a:p>
        </p:txBody>
      </p:sp>
      <p:sp>
        <p:nvSpPr>
          <p:cNvPr id="45" name="矩形 44"/>
          <p:cNvSpPr/>
          <p:nvPr/>
        </p:nvSpPr>
        <p:spPr bwMode="auto">
          <a:xfrm>
            <a:off x="7617360" y="4058589"/>
            <a:ext cx="3827879" cy="57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20000"/>
              </a:lnSpc>
            </a:pPr>
            <a:r>
              <a:rPr lang="en-US" altLang="zh-CN" sz="1200" dirty="0"/>
              <a:t>（5）预研相关的软件</a:t>
            </a:r>
            <a:r>
              <a:rPr lang="zh-CN" altLang="en-US" sz="1200" dirty="0"/>
              <a:t>开发</a:t>
            </a:r>
            <a:r>
              <a:rPr lang="en-US" altLang="zh-CN" sz="1200" dirty="0"/>
              <a:t>技术，完成授权平台及支撑其服务的其它模块的总体设计与开发。</a:t>
            </a:r>
            <a:endParaRPr lang="en-US" altLang="zh-CN" sz="1200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计划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47" name="矩形: 圆角 46"/>
          <p:cNvSpPr/>
          <p:nvPr/>
        </p:nvSpPr>
        <p:spPr>
          <a:xfrm>
            <a:off x="4848445" y="2435510"/>
            <a:ext cx="2495109" cy="3279994"/>
          </a:xfrm>
          <a:prstGeom prst="roundRect">
            <a:avLst>
              <a:gd name="adj" fmla="val 9051"/>
            </a:avLst>
          </a:prstGeom>
          <a:solidFill>
            <a:schemeClr val="bg1">
              <a:lumMod val="7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48" name="矩形: 圆角 47"/>
          <p:cNvSpPr/>
          <p:nvPr/>
        </p:nvSpPr>
        <p:spPr>
          <a:xfrm>
            <a:off x="5019709" y="2670646"/>
            <a:ext cx="2152581" cy="2896143"/>
          </a:xfrm>
          <a:prstGeom prst="roundRect">
            <a:avLst>
              <a:gd name="adj" fmla="val 9051"/>
            </a:avLst>
          </a:prstGeom>
          <a:solidFill>
            <a:schemeClr val="bg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49" name="椭圆 48"/>
          <p:cNvSpPr/>
          <p:nvPr/>
        </p:nvSpPr>
        <p:spPr>
          <a:xfrm>
            <a:off x="5294591" y="2794906"/>
            <a:ext cx="169370" cy="169370"/>
          </a:xfrm>
          <a:prstGeom prst="ellipse">
            <a:avLst/>
          </a:prstGeom>
          <a:solidFill>
            <a:schemeClr val="bg1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0" name="椭圆 49"/>
          <p:cNvSpPr/>
          <p:nvPr/>
        </p:nvSpPr>
        <p:spPr>
          <a:xfrm>
            <a:off x="5635225" y="2794906"/>
            <a:ext cx="169370" cy="169370"/>
          </a:xfrm>
          <a:prstGeom prst="ellipse">
            <a:avLst/>
          </a:prstGeom>
          <a:solidFill>
            <a:schemeClr val="bg1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1" name="椭圆 50"/>
          <p:cNvSpPr/>
          <p:nvPr/>
        </p:nvSpPr>
        <p:spPr>
          <a:xfrm>
            <a:off x="6385169" y="2794906"/>
            <a:ext cx="169370" cy="169370"/>
          </a:xfrm>
          <a:prstGeom prst="ellipse">
            <a:avLst/>
          </a:prstGeom>
          <a:solidFill>
            <a:schemeClr val="bg1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2" name="椭圆 51"/>
          <p:cNvSpPr/>
          <p:nvPr/>
        </p:nvSpPr>
        <p:spPr>
          <a:xfrm>
            <a:off x="6725802" y="2794906"/>
            <a:ext cx="169370" cy="169370"/>
          </a:xfrm>
          <a:prstGeom prst="ellipse">
            <a:avLst/>
          </a:prstGeom>
          <a:solidFill>
            <a:schemeClr val="bg1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3" name="矩形: 圆角 52"/>
          <p:cNvSpPr/>
          <p:nvPr/>
        </p:nvSpPr>
        <p:spPr>
          <a:xfrm>
            <a:off x="5330737" y="2278534"/>
            <a:ext cx="97077" cy="6320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4" name="矩形: 圆角 53"/>
          <p:cNvSpPr/>
          <p:nvPr/>
        </p:nvSpPr>
        <p:spPr>
          <a:xfrm>
            <a:off x="5671371" y="2278534"/>
            <a:ext cx="97077" cy="6320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5" name="矩形: 圆角 54"/>
          <p:cNvSpPr/>
          <p:nvPr/>
        </p:nvSpPr>
        <p:spPr>
          <a:xfrm>
            <a:off x="6421315" y="2278534"/>
            <a:ext cx="97077" cy="6320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56" name="矩形: 圆角 55"/>
          <p:cNvSpPr/>
          <p:nvPr/>
        </p:nvSpPr>
        <p:spPr>
          <a:xfrm>
            <a:off x="6761948" y="2278534"/>
            <a:ext cx="97077" cy="6320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29" name="椭圆 28"/>
          <p:cNvSpPr/>
          <p:nvPr/>
        </p:nvSpPr>
        <p:spPr>
          <a:xfrm>
            <a:off x="5019709" y="3312721"/>
            <a:ext cx="785418" cy="7854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0" name="椭圆 29"/>
          <p:cNvSpPr/>
          <p:nvPr/>
        </p:nvSpPr>
        <p:spPr>
          <a:xfrm>
            <a:off x="6386872" y="3312721"/>
            <a:ext cx="785418" cy="7854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1" name="椭圆 30"/>
          <p:cNvSpPr/>
          <p:nvPr/>
        </p:nvSpPr>
        <p:spPr>
          <a:xfrm>
            <a:off x="5623853" y="3233284"/>
            <a:ext cx="944292" cy="944292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32" name="任意多边形: 形状 31"/>
          <p:cNvSpPr/>
          <p:nvPr/>
        </p:nvSpPr>
        <p:spPr bwMode="auto">
          <a:xfrm>
            <a:off x="5897953" y="3534650"/>
            <a:ext cx="396092" cy="341560"/>
          </a:xfrm>
          <a:custGeom>
            <a:avLst/>
            <a:gdLst/>
            <a:ahLst/>
            <a:cxnLst>
              <a:cxn ang="0">
                <a:pos x="64" y="51"/>
              </a:cxn>
              <a:cxn ang="0">
                <a:pos x="60" y="55"/>
              </a:cxn>
              <a:cxn ang="0">
                <a:pos x="49" y="55"/>
              </a:cxn>
              <a:cxn ang="0">
                <a:pos x="45" y="51"/>
              </a:cxn>
              <a:cxn ang="0">
                <a:pos x="45" y="40"/>
              </a:cxn>
              <a:cxn ang="0">
                <a:pos x="49" y="36"/>
              </a:cxn>
              <a:cxn ang="0">
                <a:pos x="52" y="36"/>
              </a:cxn>
              <a:cxn ang="0">
                <a:pos x="52" y="30"/>
              </a:cxn>
              <a:cxn ang="0">
                <a:pos x="34" y="30"/>
              </a:cxn>
              <a:cxn ang="0">
                <a:pos x="34" y="36"/>
              </a:cxn>
              <a:cxn ang="0">
                <a:pos x="37" y="36"/>
              </a:cxn>
              <a:cxn ang="0">
                <a:pos x="41" y="40"/>
              </a:cxn>
              <a:cxn ang="0">
                <a:pos x="41" y="51"/>
              </a:cxn>
              <a:cxn ang="0">
                <a:pos x="37" y="55"/>
              </a:cxn>
              <a:cxn ang="0">
                <a:pos x="26" y="55"/>
              </a:cxn>
              <a:cxn ang="0">
                <a:pos x="23" y="51"/>
              </a:cxn>
              <a:cxn ang="0">
                <a:pos x="23" y="40"/>
              </a:cxn>
              <a:cxn ang="0">
                <a:pos x="26" y="36"/>
              </a:cxn>
              <a:cxn ang="0">
                <a:pos x="29" y="36"/>
              </a:cxn>
              <a:cxn ang="0">
                <a:pos x="29" y="30"/>
              </a:cxn>
              <a:cxn ang="0">
                <a:pos x="11" y="30"/>
              </a:cxn>
              <a:cxn ang="0">
                <a:pos x="11" y="36"/>
              </a:cxn>
              <a:cxn ang="0">
                <a:pos x="15" y="36"/>
              </a:cxn>
              <a:cxn ang="0">
                <a:pos x="18" y="40"/>
              </a:cxn>
              <a:cxn ang="0">
                <a:pos x="18" y="51"/>
              </a:cxn>
              <a:cxn ang="0">
                <a:pos x="15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6"/>
              </a:cxn>
              <a:cxn ang="0">
                <a:pos x="7" y="36"/>
              </a:cxn>
              <a:cxn ang="0">
                <a:pos x="7" y="30"/>
              </a:cxn>
              <a:cxn ang="0">
                <a:pos x="11" y="25"/>
              </a:cxn>
              <a:cxn ang="0">
                <a:pos x="29" y="25"/>
              </a:cxn>
              <a:cxn ang="0">
                <a:pos x="29" y="18"/>
              </a:cxn>
              <a:cxn ang="0">
                <a:pos x="26" y="18"/>
              </a:cxn>
              <a:cxn ang="0">
                <a:pos x="23" y="15"/>
              </a:cxn>
              <a:cxn ang="0">
                <a:pos x="23" y="3"/>
              </a:cxn>
              <a:cxn ang="0">
                <a:pos x="26" y="0"/>
              </a:cxn>
              <a:cxn ang="0">
                <a:pos x="37" y="0"/>
              </a:cxn>
              <a:cxn ang="0">
                <a:pos x="41" y="3"/>
              </a:cxn>
              <a:cxn ang="0">
                <a:pos x="41" y="15"/>
              </a:cxn>
              <a:cxn ang="0">
                <a:pos x="37" y="18"/>
              </a:cxn>
              <a:cxn ang="0">
                <a:pos x="34" y="18"/>
              </a:cxn>
              <a:cxn ang="0">
                <a:pos x="34" y="25"/>
              </a:cxn>
              <a:cxn ang="0">
                <a:pos x="52" y="25"/>
              </a:cxn>
              <a:cxn ang="0">
                <a:pos x="57" y="30"/>
              </a:cxn>
              <a:cxn ang="0">
                <a:pos x="57" y="36"/>
              </a:cxn>
              <a:cxn ang="0">
                <a:pos x="60" y="36"/>
              </a:cxn>
              <a:cxn ang="0">
                <a:pos x="64" y="40"/>
              </a:cxn>
              <a:cxn ang="0">
                <a:pos x="64" y="51"/>
              </a:cxn>
            </a:cxnLst>
            <a:rect l="0" t="0" r="r" b="b"/>
            <a:pathLst>
              <a:path w="64" h="55">
                <a:moveTo>
                  <a:pt x="64" y="51"/>
                </a:moveTo>
                <a:cubicBezTo>
                  <a:pt x="64" y="53"/>
                  <a:pt x="62" y="55"/>
                  <a:pt x="60" y="55"/>
                </a:cubicBezTo>
                <a:cubicBezTo>
                  <a:pt x="49" y="55"/>
                  <a:pt x="49" y="55"/>
                  <a:pt x="49" y="55"/>
                </a:cubicBezTo>
                <a:cubicBezTo>
                  <a:pt x="47" y="55"/>
                  <a:pt x="45" y="53"/>
                  <a:pt x="45" y="51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38"/>
                  <a:pt x="47" y="36"/>
                  <a:pt x="49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0"/>
                  <a:pt x="52" y="30"/>
                  <a:pt x="52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6"/>
                  <a:pt x="34" y="36"/>
                  <a:pt x="34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9" y="36"/>
                  <a:pt x="41" y="38"/>
                  <a:pt x="41" y="40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3"/>
                  <a:pt x="39" y="55"/>
                  <a:pt x="37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4" y="55"/>
                  <a:pt x="23" y="53"/>
                  <a:pt x="23" y="51"/>
                </a:cubicBezTo>
                <a:cubicBezTo>
                  <a:pt x="23" y="40"/>
                  <a:pt x="23" y="40"/>
                  <a:pt x="23" y="40"/>
                </a:cubicBezTo>
                <a:cubicBezTo>
                  <a:pt x="23" y="38"/>
                  <a:pt x="24" y="36"/>
                  <a:pt x="26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0"/>
                  <a:pt x="29" y="30"/>
                  <a:pt x="29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6"/>
                  <a:pt x="11" y="36"/>
                  <a:pt x="11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6"/>
                  <a:pt x="18" y="38"/>
                  <a:pt x="18" y="40"/>
                </a:cubicBezTo>
                <a:cubicBezTo>
                  <a:pt x="18" y="51"/>
                  <a:pt x="18" y="51"/>
                  <a:pt x="18" y="51"/>
                </a:cubicBezTo>
                <a:cubicBezTo>
                  <a:pt x="18" y="53"/>
                  <a:pt x="17" y="55"/>
                  <a:pt x="15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6"/>
                  <a:pt x="3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27"/>
                  <a:pt x="9" y="25"/>
                  <a:pt x="11" y="25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18"/>
                  <a:pt x="29" y="18"/>
                  <a:pt x="2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4" y="18"/>
                  <a:pt x="23" y="17"/>
                  <a:pt x="23" y="15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4" y="0"/>
                  <a:pt x="26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41" y="1"/>
                  <a:pt x="41" y="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7"/>
                  <a:pt x="39" y="18"/>
                  <a:pt x="37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25"/>
                  <a:pt x="34" y="25"/>
                  <a:pt x="34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5" y="25"/>
                  <a:pt x="57" y="27"/>
                  <a:pt x="57" y="30"/>
                </a:cubicBezTo>
                <a:cubicBezTo>
                  <a:pt x="57" y="36"/>
                  <a:pt x="57" y="36"/>
                  <a:pt x="57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2" y="36"/>
                  <a:pt x="64" y="38"/>
                  <a:pt x="64" y="40"/>
                </a:cubicBezTo>
                <a:lnTo>
                  <a:pt x="64" y="5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</a:p>
        </p:txBody>
      </p:sp>
      <p:sp>
        <p:nvSpPr>
          <p:cNvPr id="33" name="椭圆 32"/>
          <p:cNvSpPr/>
          <p:nvPr/>
        </p:nvSpPr>
        <p:spPr>
          <a:xfrm>
            <a:off x="5019709" y="4374581"/>
            <a:ext cx="785418" cy="7854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4" name="椭圆 33"/>
          <p:cNvSpPr/>
          <p:nvPr/>
        </p:nvSpPr>
        <p:spPr>
          <a:xfrm>
            <a:off x="6386872" y="4374581"/>
            <a:ext cx="785418" cy="7854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5" name="椭圆 34"/>
          <p:cNvSpPr/>
          <p:nvPr/>
        </p:nvSpPr>
        <p:spPr>
          <a:xfrm>
            <a:off x="5623853" y="4295144"/>
            <a:ext cx="944292" cy="944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</a:p>
        </p:txBody>
      </p:sp>
      <p:sp>
        <p:nvSpPr>
          <p:cNvPr id="36" name="任意多边形: 形状 35"/>
          <p:cNvSpPr/>
          <p:nvPr/>
        </p:nvSpPr>
        <p:spPr bwMode="auto">
          <a:xfrm>
            <a:off x="5885036" y="4572115"/>
            <a:ext cx="421926" cy="390350"/>
          </a:xfrm>
          <a:custGeom>
            <a:avLst/>
            <a:gdLst/>
            <a:ahLst/>
            <a:cxnLst>
              <a:cxn ang="0">
                <a:pos x="39" y="36"/>
              </a:cxn>
              <a:cxn ang="0">
                <a:pos x="41" y="44"/>
              </a:cxn>
              <a:cxn ang="0">
                <a:pos x="35" y="50"/>
              </a:cxn>
              <a:cxn ang="0">
                <a:pos x="27" y="53"/>
              </a:cxn>
              <a:cxn ang="0">
                <a:pos x="18" y="53"/>
              </a:cxn>
              <a:cxn ang="0">
                <a:pos x="11" y="50"/>
              </a:cxn>
              <a:cxn ang="0">
                <a:pos x="4" y="44"/>
              </a:cxn>
              <a:cxn ang="0">
                <a:pos x="6" y="36"/>
              </a:cxn>
              <a:cxn ang="0">
                <a:pos x="0" y="28"/>
              </a:cxn>
              <a:cxn ang="0">
                <a:pos x="7" y="23"/>
              </a:cxn>
              <a:cxn ang="0">
                <a:pos x="4" y="18"/>
              </a:cxn>
              <a:cxn ang="0">
                <a:pos x="15" y="16"/>
              </a:cxn>
              <a:cxn ang="0">
                <a:pos x="19" y="8"/>
              </a:cxn>
              <a:cxn ang="0">
                <a:pos x="28" y="15"/>
              </a:cxn>
              <a:cxn ang="0">
                <a:pos x="35" y="12"/>
              </a:cxn>
              <a:cxn ang="0">
                <a:pos x="41" y="19"/>
              </a:cxn>
              <a:cxn ang="0">
                <a:pos x="45" y="27"/>
              </a:cxn>
              <a:cxn ang="0">
                <a:pos x="23" y="22"/>
              </a:cxn>
              <a:cxn ang="0">
                <a:pos x="32" y="31"/>
              </a:cxn>
              <a:cxn ang="0">
                <a:pos x="63" y="16"/>
              </a:cxn>
              <a:cxn ang="0">
                <a:pos x="64" y="24"/>
              </a:cxn>
              <a:cxn ang="0">
                <a:pos x="55" y="22"/>
              </a:cxn>
              <a:cxn ang="0">
                <a:pos x="46" y="24"/>
              </a:cxn>
              <a:cxn ang="0">
                <a:pos x="46" y="16"/>
              </a:cxn>
              <a:cxn ang="0">
                <a:pos x="46" y="9"/>
              </a:cxn>
              <a:cxn ang="0">
                <a:pos x="46" y="2"/>
              </a:cxn>
              <a:cxn ang="0">
                <a:pos x="55" y="4"/>
              </a:cxn>
              <a:cxn ang="0">
                <a:pos x="59" y="0"/>
              </a:cxn>
              <a:cxn ang="0">
                <a:pos x="62" y="7"/>
              </a:cxn>
              <a:cxn ang="0">
                <a:pos x="68" y="15"/>
              </a:cxn>
              <a:cxn ang="0">
                <a:pos x="62" y="55"/>
              </a:cxn>
              <a:cxn ang="0">
                <a:pos x="59" y="63"/>
              </a:cxn>
              <a:cxn ang="0">
                <a:pos x="54" y="59"/>
              </a:cxn>
              <a:cxn ang="0">
                <a:pos x="45" y="60"/>
              </a:cxn>
              <a:cxn ang="0">
                <a:pos x="41" y="52"/>
              </a:cxn>
              <a:cxn ang="0">
                <a:pos x="47" y="44"/>
              </a:cxn>
              <a:cxn ang="0">
                <a:pos x="50" y="36"/>
              </a:cxn>
              <a:cxn ang="0">
                <a:pos x="56" y="40"/>
              </a:cxn>
              <a:cxn ang="0">
                <a:pos x="64" y="39"/>
              </a:cxn>
              <a:cxn ang="0">
                <a:pos x="63" y="46"/>
              </a:cxn>
              <a:cxn ang="0">
                <a:pos x="55" y="8"/>
              </a:cxn>
              <a:cxn ang="0">
                <a:pos x="59" y="13"/>
              </a:cxn>
              <a:cxn ang="0">
                <a:pos x="50" y="49"/>
              </a:cxn>
              <a:cxn ang="0">
                <a:pos x="55" y="45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9525">
            <a:noFill/>
            <a:rou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</a:p>
        </p:txBody>
      </p:sp>
      <p:cxnSp>
        <p:nvCxnSpPr>
          <p:cNvPr id="37" name="直接连接符 36"/>
          <p:cNvCxnSpPr/>
          <p:nvPr/>
        </p:nvCxnSpPr>
        <p:spPr>
          <a:xfrm flipH="1">
            <a:off x="669925" y="4476739"/>
            <a:ext cx="401637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矩形 37"/>
          <p:cNvSpPr/>
          <p:nvPr/>
        </p:nvSpPr>
        <p:spPr bwMode="auto">
          <a:xfrm>
            <a:off x="458470" y="1992630"/>
            <a:ext cx="4116070" cy="804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200" dirty="0"/>
              <a:t>（</a:t>
            </a:r>
            <a:r>
              <a:rPr lang="en-US" altLang="zh-CN" sz="1200" dirty="0"/>
              <a:t>1</a:t>
            </a:r>
            <a:r>
              <a:rPr lang="zh-CN" altLang="en-US" sz="1200" dirty="0"/>
              <a:t>）在公司的实习工作中</a:t>
            </a:r>
            <a:r>
              <a:rPr lang="zh-CN" altLang="en-US" sz="1200" dirty="0"/>
              <a:t>了解了较多的软件产品</a:t>
            </a:r>
            <a:r>
              <a:rPr lang="zh-CN" altLang="en-US" sz="1200" dirty="0"/>
              <a:t>情况。</a:t>
            </a:r>
            <a:endParaRPr lang="zh-CN" altLang="en-US" sz="1200" dirty="0"/>
          </a:p>
        </p:txBody>
      </p:sp>
      <p:sp>
        <p:nvSpPr>
          <p:cNvPr id="40" name="矩形 39"/>
          <p:cNvSpPr/>
          <p:nvPr/>
        </p:nvSpPr>
        <p:spPr bwMode="auto">
          <a:xfrm>
            <a:off x="458470" y="2797175"/>
            <a:ext cx="3827780" cy="633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200" dirty="0"/>
              <a:t>（2）</a:t>
            </a:r>
            <a:r>
              <a:rPr lang="zh-CN" altLang="en-US" sz="1200" dirty="0"/>
              <a:t>针对公司内部的</a:t>
            </a:r>
            <a:r>
              <a:rPr lang="zh-CN" altLang="en-US" sz="1200" dirty="0"/>
              <a:t>软硬件产品，有设计专门的统一授权</a:t>
            </a:r>
            <a:r>
              <a:rPr lang="zh-CN" altLang="en-US" sz="1200" dirty="0"/>
              <a:t>平台。</a:t>
            </a:r>
            <a:endParaRPr lang="zh-CN" altLang="en-US" sz="1200" dirty="0"/>
          </a:p>
        </p:txBody>
      </p:sp>
      <p:sp>
        <p:nvSpPr>
          <p:cNvPr id="41" name="矩形 40"/>
          <p:cNvSpPr/>
          <p:nvPr/>
        </p:nvSpPr>
        <p:spPr bwMode="auto">
          <a:xfrm>
            <a:off x="458470" y="3724275"/>
            <a:ext cx="4041775" cy="576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200" dirty="0"/>
              <a:t>（3）</a:t>
            </a:r>
            <a:r>
              <a:rPr lang="zh-CN" altLang="en-US" sz="1200" dirty="0"/>
              <a:t>参考已有的设计，综合更通用的需求</a:t>
            </a:r>
            <a:r>
              <a:rPr lang="zh-CN" altLang="en-US" sz="1200" dirty="0"/>
              <a:t>进行优化，并将其</a:t>
            </a:r>
            <a:r>
              <a:rPr lang="zh-CN" altLang="en-US" sz="1200" dirty="0"/>
              <a:t>通用化。</a:t>
            </a:r>
            <a:endParaRPr lang="zh-CN" altLang="en-US" sz="1200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图片 -1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/>
              <a:t>Thanks</a:t>
            </a:r>
            <a:br>
              <a:rPr lang="en-US" altLang="zh-CN"/>
            </a:br>
            <a:endParaRPr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/>
          <p:cNvCxnSpPr/>
          <p:nvPr/>
        </p:nvCxnSpPr>
        <p:spPr>
          <a:xfrm>
            <a:off x="669925" y="2081272"/>
            <a:ext cx="1085056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椭圆 28"/>
          <p:cNvSpPr/>
          <p:nvPr/>
        </p:nvSpPr>
        <p:spPr bwMode="auto">
          <a:xfrm>
            <a:off x="4766515" y="1085399"/>
            <a:ext cx="1989885" cy="198988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</a:ln>
        </p:spPr>
        <p:txBody>
          <a:bodyPr rot="0" spcFirstLastPara="0" vert="horz" wrap="none" lIns="91440" tIns="45720" rIns="91440" bIns="45720" anchor="ctr" anchorCtr="1" forceAA="0" compatLnSpc="1">
            <a:normAutofit/>
          </a:bodyPr>
          <a:lstStyle/>
          <a:p>
            <a:pPr algn="ctr"/>
            <a:r>
              <a:rPr lang="en-US" altLang="zh-CN" b="1" dirty="0"/>
              <a:t>CONTENTS</a:t>
            </a:r>
            <a:endParaRPr lang="en-US" altLang="zh-CN" b="1" dirty="0"/>
          </a:p>
        </p:txBody>
      </p:sp>
      <p:sp>
        <p:nvSpPr>
          <p:cNvPr id="30" name="任意多边形: 形状 29"/>
          <p:cNvSpPr/>
          <p:nvPr/>
        </p:nvSpPr>
        <p:spPr bwMode="auto">
          <a:xfrm rot="1775122" flipH="1">
            <a:off x="5596071" y="1028700"/>
            <a:ext cx="187530" cy="206875"/>
          </a:xfrm>
          <a:custGeom>
            <a:avLst/>
            <a:gdLst>
              <a:gd name="connsiteX0" fmla="*/ 73048 w 251088"/>
              <a:gd name="connsiteY0" fmla="*/ 36731 h 276989"/>
              <a:gd name="connsiteX1" fmla="*/ 0 w 251088"/>
              <a:gd name="connsiteY1" fmla="*/ 0 h 276989"/>
              <a:gd name="connsiteX2" fmla="*/ 0 w 251088"/>
              <a:gd name="connsiteY2" fmla="*/ 150529 h 276989"/>
              <a:gd name="connsiteX3" fmla="*/ 9937 w 251088"/>
              <a:gd name="connsiteY3" fmla="*/ 199750 h 276989"/>
              <a:gd name="connsiteX4" fmla="*/ 126464 w 251088"/>
              <a:gd name="connsiteY4" fmla="*/ 276988 h 276989"/>
              <a:gd name="connsiteX5" fmla="*/ 242990 w 251088"/>
              <a:gd name="connsiteY5" fmla="*/ 199749 h 276989"/>
              <a:gd name="connsiteX6" fmla="*/ 251088 w 251088"/>
              <a:gd name="connsiteY6" fmla="*/ 159638 h 276989"/>
              <a:gd name="connsiteX7" fmla="*/ 188098 w 251088"/>
              <a:gd name="connsiteY7" fmla="*/ 109958 h 276989"/>
              <a:gd name="connsiteX8" fmla="*/ 73048 w 251088"/>
              <a:gd name="connsiteY8" fmla="*/ 36731 h 27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1088" h="276989">
                <a:moveTo>
                  <a:pt x="73048" y="36731"/>
                </a:moveTo>
                <a:lnTo>
                  <a:pt x="0" y="0"/>
                </a:lnTo>
                <a:lnTo>
                  <a:pt x="0" y="150529"/>
                </a:lnTo>
                <a:lnTo>
                  <a:pt x="9937" y="199750"/>
                </a:lnTo>
                <a:cubicBezTo>
                  <a:pt x="29136" y="245139"/>
                  <a:pt x="74081" y="276988"/>
                  <a:pt x="126464" y="276988"/>
                </a:cubicBezTo>
                <a:cubicBezTo>
                  <a:pt x="178847" y="276989"/>
                  <a:pt x="223791" y="245139"/>
                  <a:pt x="242990" y="199749"/>
                </a:cubicBezTo>
                <a:lnTo>
                  <a:pt x="251088" y="159638"/>
                </a:lnTo>
                <a:lnTo>
                  <a:pt x="188098" y="109958"/>
                </a:lnTo>
                <a:cubicBezTo>
                  <a:pt x="151400" y="83893"/>
                  <a:pt x="113036" y="59433"/>
                  <a:pt x="73048" y="36731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fontScale="47500" lnSpcReduction="20000"/>
          </a:bodyPr>
          <a:lstStyle/>
          <a:p>
            <a:pPr algn="ctr"/>
          </a:p>
        </p:txBody>
      </p:sp>
      <p:sp>
        <p:nvSpPr>
          <p:cNvPr id="31" name="任意多边形: 形状 30"/>
          <p:cNvSpPr/>
          <p:nvPr/>
        </p:nvSpPr>
        <p:spPr bwMode="auto">
          <a:xfrm rot="1775122" flipH="1">
            <a:off x="5729878" y="1043910"/>
            <a:ext cx="188905" cy="465115"/>
          </a:xfrm>
          <a:custGeom>
            <a:avLst/>
            <a:gdLst>
              <a:gd name="connsiteX0" fmla="*/ 252927 w 252928"/>
              <a:gd name="connsiteY0" fmla="*/ 93736 h 622752"/>
              <a:gd name="connsiteX1" fmla="*/ 204135 w 252928"/>
              <a:gd name="connsiteY1" fmla="*/ 69201 h 622752"/>
              <a:gd name="connsiteX2" fmla="*/ 79143 w 252928"/>
              <a:gd name="connsiteY2" fmla="*/ 21452 h 622752"/>
              <a:gd name="connsiteX3" fmla="*/ 0 w 252928"/>
              <a:gd name="connsiteY3" fmla="*/ 0 h 622752"/>
              <a:gd name="connsiteX4" fmla="*/ 1 w 252928"/>
              <a:gd name="connsiteY4" fmla="*/ 370274 h 622752"/>
              <a:gd name="connsiteX5" fmla="*/ 0 w 252928"/>
              <a:gd name="connsiteY5" fmla="*/ 370277 h 622752"/>
              <a:gd name="connsiteX6" fmla="*/ 0 w 252928"/>
              <a:gd name="connsiteY6" fmla="*/ 496288 h 622752"/>
              <a:gd name="connsiteX7" fmla="*/ 126464 w 252928"/>
              <a:gd name="connsiteY7" fmla="*/ 622752 h 622752"/>
              <a:gd name="connsiteX8" fmla="*/ 252928 w 252928"/>
              <a:gd name="connsiteY8" fmla="*/ 496288 h 622752"/>
              <a:gd name="connsiteX9" fmla="*/ 252928 w 252928"/>
              <a:gd name="connsiteY9" fmla="*/ 244265 h 622752"/>
              <a:gd name="connsiteX10" fmla="*/ 252927 w 252928"/>
              <a:gd name="connsiteY10" fmla="*/ 244260 h 622752"/>
              <a:gd name="connsiteX11" fmla="*/ 252927 w 252928"/>
              <a:gd name="connsiteY11" fmla="*/ 93736 h 622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2928" h="622752">
                <a:moveTo>
                  <a:pt x="252927" y="93736"/>
                </a:moveTo>
                <a:lnTo>
                  <a:pt x="204135" y="69201"/>
                </a:lnTo>
                <a:cubicBezTo>
                  <a:pt x="162945" y="51046"/>
                  <a:pt x="121230" y="35143"/>
                  <a:pt x="79143" y="21452"/>
                </a:cubicBezTo>
                <a:lnTo>
                  <a:pt x="0" y="0"/>
                </a:lnTo>
                <a:lnTo>
                  <a:pt x="1" y="370274"/>
                </a:lnTo>
                <a:lnTo>
                  <a:pt x="0" y="370277"/>
                </a:lnTo>
                <a:lnTo>
                  <a:pt x="0" y="496288"/>
                </a:lnTo>
                <a:cubicBezTo>
                  <a:pt x="0" y="566132"/>
                  <a:pt x="56620" y="622752"/>
                  <a:pt x="126464" y="622752"/>
                </a:cubicBezTo>
                <a:cubicBezTo>
                  <a:pt x="196308" y="622752"/>
                  <a:pt x="252928" y="566132"/>
                  <a:pt x="252928" y="496288"/>
                </a:cubicBezTo>
                <a:lnTo>
                  <a:pt x="252928" y="244265"/>
                </a:lnTo>
                <a:lnTo>
                  <a:pt x="252927" y="244260"/>
                </a:lnTo>
                <a:lnTo>
                  <a:pt x="252927" y="93736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sp>
        <p:nvSpPr>
          <p:cNvPr id="32" name="任意多边形: 形状 31"/>
          <p:cNvSpPr/>
          <p:nvPr/>
        </p:nvSpPr>
        <p:spPr bwMode="auto">
          <a:xfrm rot="1775122" flipH="1">
            <a:off x="5924698" y="1115624"/>
            <a:ext cx="188905" cy="400619"/>
          </a:xfrm>
          <a:custGeom>
            <a:avLst/>
            <a:gdLst>
              <a:gd name="connsiteX0" fmla="*/ 252928 w 252928"/>
              <a:gd name="connsiteY0" fmla="*/ 39658 h 536396"/>
              <a:gd name="connsiteX1" fmla="*/ 204843 w 252928"/>
              <a:gd name="connsiteY1" fmla="*/ 26625 h 536396"/>
              <a:gd name="connsiteX2" fmla="*/ 76292 w 252928"/>
              <a:gd name="connsiteY2" fmla="*/ 5153 h 536396"/>
              <a:gd name="connsiteX3" fmla="*/ 0 w 252928"/>
              <a:gd name="connsiteY3" fmla="*/ 0 h 536396"/>
              <a:gd name="connsiteX4" fmla="*/ 0 w 252928"/>
              <a:gd name="connsiteY4" fmla="*/ 139902 h 536396"/>
              <a:gd name="connsiteX5" fmla="*/ 0 w 252928"/>
              <a:gd name="connsiteY5" fmla="*/ 139903 h 536396"/>
              <a:gd name="connsiteX6" fmla="*/ 0 w 252928"/>
              <a:gd name="connsiteY6" fmla="*/ 409932 h 536396"/>
              <a:gd name="connsiteX7" fmla="*/ 126464 w 252928"/>
              <a:gd name="connsiteY7" fmla="*/ 536396 h 536396"/>
              <a:gd name="connsiteX8" fmla="*/ 242990 w 252928"/>
              <a:gd name="connsiteY8" fmla="*/ 459157 h 536396"/>
              <a:gd name="connsiteX9" fmla="*/ 252928 w 252928"/>
              <a:gd name="connsiteY9" fmla="*/ 409935 h 536396"/>
              <a:gd name="connsiteX10" fmla="*/ 252928 w 252928"/>
              <a:gd name="connsiteY10" fmla="*/ 39658 h 536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2928" h="536396">
                <a:moveTo>
                  <a:pt x="252928" y="39658"/>
                </a:moveTo>
                <a:lnTo>
                  <a:pt x="204843" y="26625"/>
                </a:lnTo>
                <a:cubicBezTo>
                  <a:pt x="162163" y="17313"/>
                  <a:pt x="119262" y="10169"/>
                  <a:pt x="76292" y="5153"/>
                </a:cubicBezTo>
                <a:lnTo>
                  <a:pt x="0" y="0"/>
                </a:lnTo>
                <a:lnTo>
                  <a:pt x="0" y="139902"/>
                </a:lnTo>
                <a:lnTo>
                  <a:pt x="0" y="139903"/>
                </a:lnTo>
                <a:lnTo>
                  <a:pt x="0" y="409932"/>
                </a:lnTo>
                <a:cubicBezTo>
                  <a:pt x="0" y="479776"/>
                  <a:pt x="56620" y="536396"/>
                  <a:pt x="126464" y="536396"/>
                </a:cubicBezTo>
                <a:cubicBezTo>
                  <a:pt x="178847" y="536396"/>
                  <a:pt x="223792" y="504547"/>
                  <a:pt x="242990" y="459157"/>
                </a:cubicBezTo>
                <a:lnTo>
                  <a:pt x="252928" y="409935"/>
                </a:lnTo>
                <a:lnTo>
                  <a:pt x="252928" y="3965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sp>
        <p:nvSpPr>
          <p:cNvPr id="33" name="任意多边形: 形状 32"/>
          <p:cNvSpPr/>
          <p:nvPr/>
        </p:nvSpPr>
        <p:spPr bwMode="auto">
          <a:xfrm rot="1775122" flipH="1">
            <a:off x="6139459" y="1219390"/>
            <a:ext cx="188905" cy="201772"/>
          </a:xfrm>
          <a:custGeom>
            <a:avLst/>
            <a:gdLst>
              <a:gd name="connsiteX0" fmla="*/ 252929 w 252929"/>
              <a:gd name="connsiteY0" fmla="*/ 3790 h 270156"/>
              <a:gd name="connsiteX1" fmla="*/ 200259 w 252929"/>
              <a:gd name="connsiteY1" fmla="*/ 232 h 270156"/>
              <a:gd name="connsiteX2" fmla="*/ 71799 w 252929"/>
              <a:gd name="connsiteY2" fmla="*/ 4031 h 270156"/>
              <a:gd name="connsiteX3" fmla="*/ 0 w 252929"/>
              <a:gd name="connsiteY3" fmla="*/ 13106 h 270156"/>
              <a:gd name="connsiteX4" fmla="*/ 0 w 252929"/>
              <a:gd name="connsiteY4" fmla="*/ 143692 h 270156"/>
              <a:gd name="connsiteX5" fmla="*/ 126465 w 252929"/>
              <a:gd name="connsiteY5" fmla="*/ 270156 h 270156"/>
              <a:gd name="connsiteX6" fmla="*/ 242991 w 252929"/>
              <a:gd name="connsiteY6" fmla="*/ 192917 h 270156"/>
              <a:gd name="connsiteX7" fmla="*/ 252929 w 252929"/>
              <a:gd name="connsiteY7" fmla="*/ 143693 h 270156"/>
              <a:gd name="connsiteX8" fmla="*/ 252929 w 252929"/>
              <a:gd name="connsiteY8" fmla="*/ 3790 h 270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929" h="270156">
                <a:moveTo>
                  <a:pt x="252929" y="3790"/>
                </a:moveTo>
                <a:lnTo>
                  <a:pt x="200259" y="232"/>
                </a:lnTo>
                <a:cubicBezTo>
                  <a:pt x="157305" y="-572"/>
                  <a:pt x="114434" y="708"/>
                  <a:pt x="71799" y="4031"/>
                </a:cubicBezTo>
                <a:lnTo>
                  <a:pt x="0" y="13106"/>
                </a:lnTo>
                <a:lnTo>
                  <a:pt x="0" y="143692"/>
                </a:lnTo>
                <a:cubicBezTo>
                  <a:pt x="1" y="213536"/>
                  <a:pt x="56621" y="270156"/>
                  <a:pt x="126465" y="270156"/>
                </a:cubicBezTo>
                <a:cubicBezTo>
                  <a:pt x="178848" y="270156"/>
                  <a:pt x="223792" y="238307"/>
                  <a:pt x="242991" y="192917"/>
                </a:cubicBezTo>
                <a:lnTo>
                  <a:pt x="252929" y="143693"/>
                </a:lnTo>
                <a:lnTo>
                  <a:pt x="252929" y="379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fontScale="47500" lnSpcReduction="20000"/>
          </a:bodyPr>
          <a:lstStyle/>
          <a:p>
            <a:pPr algn="ctr"/>
          </a:p>
        </p:txBody>
      </p:sp>
      <p:sp>
        <p:nvSpPr>
          <p:cNvPr id="34" name="任意多边形: 形状 33"/>
          <p:cNvSpPr/>
          <p:nvPr/>
        </p:nvSpPr>
        <p:spPr bwMode="auto">
          <a:xfrm rot="1775122" flipH="1">
            <a:off x="5395635" y="2602190"/>
            <a:ext cx="188905" cy="434464"/>
          </a:xfrm>
          <a:custGeom>
            <a:avLst/>
            <a:gdLst>
              <a:gd name="connsiteX0" fmla="*/ 175690 w 252929"/>
              <a:gd name="connsiteY0" fmla="*/ 9938 h 581712"/>
              <a:gd name="connsiteX1" fmla="*/ 126465 w 252929"/>
              <a:gd name="connsiteY1" fmla="*/ 0 h 581712"/>
              <a:gd name="connsiteX2" fmla="*/ 1 w 252929"/>
              <a:gd name="connsiteY2" fmla="*/ 126464 h 581712"/>
              <a:gd name="connsiteX3" fmla="*/ 1 w 252929"/>
              <a:gd name="connsiteY3" fmla="*/ 187439 h 581712"/>
              <a:gd name="connsiteX4" fmla="*/ 1 w 252929"/>
              <a:gd name="connsiteY4" fmla="*/ 548702 h 581712"/>
              <a:gd name="connsiteX5" fmla="*/ 15417 w 252929"/>
              <a:gd name="connsiteY5" fmla="*/ 552880 h 581712"/>
              <a:gd name="connsiteX6" fmla="*/ 143968 w 252929"/>
              <a:gd name="connsiteY6" fmla="*/ 574352 h 581712"/>
              <a:gd name="connsiteX7" fmla="*/ 252928 w 252929"/>
              <a:gd name="connsiteY7" fmla="*/ 581712 h 581712"/>
              <a:gd name="connsiteX8" fmla="*/ 252929 w 252929"/>
              <a:gd name="connsiteY8" fmla="*/ 126464 h 581712"/>
              <a:gd name="connsiteX9" fmla="*/ 175690 w 252929"/>
              <a:gd name="connsiteY9" fmla="*/ 9938 h 581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2929" h="581712">
                <a:moveTo>
                  <a:pt x="175690" y="9938"/>
                </a:moveTo>
                <a:cubicBezTo>
                  <a:pt x="160561" y="3539"/>
                  <a:pt x="143926" y="0"/>
                  <a:pt x="126465" y="0"/>
                </a:cubicBezTo>
                <a:cubicBezTo>
                  <a:pt x="56621" y="0"/>
                  <a:pt x="0" y="56620"/>
                  <a:pt x="1" y="126464"/>
                </a:cubicBezTo>
                <a:lnTo>
                  <a:pt x="1" y="187439"/>
                </a:lnTo>
                <a:lnTo>
                  <a:pt x="1" y="548702"/>
                </a:lnTo>
                <a:lnTo>
                  <a:pt x="15417" y="552880"/>
                </a:lnTo>
                <a:cubicBezTo>
                  <a:pt x="58097" y="562192"/>
                  <a:pt x="100998" y="569336"/>
                  <a:pt x="143968" y="574352"/>
                </a:cubicBezTo>
                <a:lnTo>
                  <a:pt x="252928" y="581712"/>
                </a:lnTo>
                <a:lnTo>
                  <a:pt x="252929" y="126464"/>
                </a:lnTo>
                <a:cubicBezTo>
                  <a:pt x="252929" y="74081"/>
                  <a:pt x="221080" y="29137"/>
                  <a:pt x="175690" y="9938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sp>
        <p:nvSpPr>
          <p:cNvPr id="35" name="任意多边形: 形状 34"/>
          <p:cNvSpPr/>
          <p:nvPr/>
        </p:nvSpPr>
        <p:spPr bwMode="auto">
          <a:xfrm rot="1775122" flipH="1">
            <a:off x="5589230" y="2609082"/>
            <a:ext cx="188905" cy="503926"/>
          </a:xfrm>
          <a:custGeom>
            <a:avLst/>
            <a:gdLst>
              <a:gd name="connsiteX0" fmla="*/ 175689 w 252928"/>
              <a:gd name="connsiteY0" fmla="*/ 9938 h 674716"/>
              <a:gd name="connsiteX1" fmla="*/ 126464 w 252928"/>
              <a:gd name="connsiteY1" fmla="*/ 0 h 674716"/>
              <a:gd name="connsiteX2" fmla="*/ 0 w 252928"/>
              <a:gd name="connsiteY2" fmla="*/ 126464 h 674716"/>
              <a:gd name="connsiteX3" fmla="*/ 0 w 252928"/>
              <a:gd name="connsiteY3" fmla="*/ 378487 h 674716"/>
              <a:gd name="connsiteX4" fmla="*/ 1 w 252928"/>
              <a:gd name="connsiteY4" fmla="*/ 378491 h 674716"/>
              <a:gd name="connsiteX5" fmla="*/ 1 w 252928"/>
              <a:gd name="connsiteY5" fmla="*/ 588552 h 674716"/>
              <a:gd name="connsiteX6" fmla="*/ 16124 w 252928"/>
              <a:gd name="connsiteY6" fmla="*/ 596660 h 674716"/>
              <a:gd name="connsiteX7" fmla="*/ 141116 w 252928"/>
              <a:gd name="connsiteY7" fmla="*/ 644409 h 674716"/>
              <a:gd name="connsiteX8" fmla="*/ 252928 w 252928"/>
              <a:gd name="connsiteY8" fmla="*/ 674716 h 674716"/>
              <a:gd name="connsiteX9" fmla="*/ 252928 w 252928"/>
              <a:gd name="connsiteY9" fmla="*/ 313453 h 674716"/>
              <a:gd name="connsiteX10" fmla="*/ 252928 w 252928"/>
              <a:gd name="connsiteY10" fmla="*/ 126464 h 674716"/>
              <a:gd name="connsiteX11" fmla="*/ 175689 w 252928"/>
              <a:gd name="connsiteY11" fmla="*/ 9938 h 674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2928" h="674716">
                <a:moveTo>
                  <a:pt x="175689" y="9938"/>
                </a:moveTo>
                <a:cubicBezTo>
                  <a:pt x="160560" y="3539"/>
                  <a:pt x="143925" y="0"/>
                  <a:pt x="126464" y="0"/>
                </a:cubicBezTo>
                <a:cubicBezTo>
                  <a:pt x="56620" y="0"/>
                  <a:pt x="0" y="56620"/>
                  <a:pt x="0" y="126464"/>
                </a:cubicBezTo>
                <a:lnTo>
                  <a:pt x="0" y="378487"/>
                </a:lnTo>
                <a:lnTo>
                  <a:pt x="1" y="378491"/>
                </a:lnTo>
                <a:lnTo>
                  <a:pt x="1" y="588552"/>
                </a:lnTo>
                <a:lnTo>
                  <a:pt x="16124" y="596660"/>
                </a:lnTo>
                <a:cubicBezTo>
                  <a:pt x="57314" y="614816"/>
                  <a:pt x="99029" y="630718"/>
                  <a:pt x="141116" y="644409"/>
                </a:cubicBezTo>
                <a:lnTo>
                  <a:pt x="252928" y="674716"/>
                </a:lnTo>
                <a:lnTo>
                  <a:pt x="252928" y="313453"/>
                </a:lnTo>
                <a:lnTo>
                  <a:pt x="252928" y="126464"/>
                </a:lnTo>
                <a:cubicBezTo>
                  <a:pt x="252928" y="74081"/>
                  <a:pt x="221079" y="29137"/>
                  <a:pt x="175689" y="9938"/>
                </a:cubicBezTo>
                <a:close/>
              </a:path>
            </a:pathLst>
          </a:custGeom>
          <a:solidFill>
            <a:schemeClr val="accent1"/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sp>
        <p:nvSpPr>
          <p:cNvPr id="36" name="任意多边形: 形状 35"/>
          <p:cNvSpPr/>
          <p:nvPr/>
        </p:nvSpPr>
        <p:spPr bwMode="auto">
          <a:xfrm rot="1775122" flipH="1">
            <a:off x="5181281" y="2697378"/>
            <a:ext cx="188905" cy="233968"/>
          </a:xfrm>
          <a:custGeom>
            <a:avLst/>
            <a:gdLst>
              <a:gd name="connsiteX0" fmla="*/ 175689 w 252928"/>
              <a:gd name="connsiteY0" fmla="*/ 9939 h 313265"/>
              <a:gd name="connsiteX1" fmla="*/ 126464 w 252928"/>
              <a:gd name="connsiteY1" fmla="*/ 1 h 313265"/>
              <a:gd name="connsiteX2" fmla="*/ 0 w 252928"/>
              <a:gd name="connsiteY2" fmla="*/ 126464 h 313265"/>
              <a:gd name="connsiteX3" fmla="*/ 0 w 252928"/>
              <a:gd name="connsiteY3" fmla="*/ 311682 h 313265"/>
              <a:gd name="connsiteX4" fmla="*/ 20001 w 252928"/>
              <a:gd name="connsiteY4" fmla="*/ 313033 h 313265"/>
              <a:gd name="connsiteX5" fmla="*/ 148461 w 252928"/>
              <a:gd name="connsiteY5" fmla="*/ 309234 h 313265"/>
              <a:gd name="connsiteX6" fmla="*/ 252928 w 252928"/>
              <a:gd name="connsiteY6" fmla="*/ 296031 h 313265"/>
              <a:gd name="connsiteX7" fmla="*/ 252928 w 252928"/>
              <a:gd name="connsiteY7" fmla="*/ 126464 h 313265"/>
              <a:gd name="connsiteX8" fmla="*/ 175689 w 252928"/>
              <a:gd name="connsiteY8" fmla="*/ 9939 h 313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928" h="313265">
                <a:moveTo>
                  <a:pt x="175689" y="9939"/>
                </a:moveTo>
                <a:cubicBezTo>
                  <a:pt x="160560" y="3539"/>
                  <a:pt x="143925" y="1"/>
                  <a:pt x="126464" y="1"/>
                </a:cubicBezTo>
                <a:cubicBezTo>
                  <a:pt x="56620" y="0"/>
                  <a:pt x="0" y="56620"/>
                  <a:pt x="0" y="126464"/>
                </a:cubicBezTo>
                <a:lnTo>
                  <a:pt x="0" y="311682"/>
                </a:lnTo>
                <a:lnTo>
                  <a:pt x="20001" y="313033"/>
                </a:lnTo>
                <a:cubicBezTo>
                  <a:pt x="62956" y="313837"/>
                  <a:pt x="105826" y="312557"/>
                  <a:pt x="148461" y="309234"/>
                </a:cubicBezTo>
                <a:lnTo>
                  <a:pt x="252928" y="296031"/>
                </a:lnTo>
                <a:lnTo>
                  <a:pt x="252928" y="126464"/>
                </a:lnTo>
                <a:cubicBezTo>
                  <a:pt x="252928" y="74081"/>
                  <a:pt x="221079" y="29137"/>
                  <a:pt x="175689" y="9939"/>
                </a:cubicBezTo>
                <a:close/>
              </a:path>
            </a:pathLst>
          </a:custGeom>
          <a:solidFill>
            <a:schemeClr val="accent1">
              <a:lumMod val="100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</a:p>
        </p:txBody>
      </p:sp>
      <p:sp>
        <p:nvSpPr>
          <p:cNvPr id="37" name="任意多边形: 形状 36"/>
          <p:cNvSpPr/>
          <p:nvPr/>
        </p:nvSpPr>
        <p:spPr bwMode="auto">
          <a:xfrm rot="1775122" flipH="1">
            <a:off x="5722925" y="2882504"/>
            <a:ext cx="188904" cy="251341"/>
          </a:xfrm>
          <a:custGeom>
            <a:avLst/>
            <a:gdLst>
              <a:gd name="connsiteX0" fmla="*/ 175689 w 252927"/>
              <a:gd name="connsiteY0" fmla="*/ 9939 h 336525"/>
              <a:gd name="connsiteX1" fmla="*/ 126464 w 252927"/>
              <a:gd name="connsiteY1" fmla="*/ 1 h 336525"/>
              <a:gd name="connsiteX2" fmla="*/ 0 w 252927"/>
              <a:gd name="connsiteY2" fmla="*/ 126464 h 336525"/>
              <a:gd name="connsiteX3" fmla="*/ 0 w 252927"/>
              <a:gd name="connsiteY3" fmla="*/ 184775 h 336525"/>
              <a:gd name="connsiteX4" fmla="*/ 32160 w 252927"/>
              <a:gd name="connsiteY4" fmla="*/ 210140 h 336525"/>
              <a:gd name="connsiteX5" fmla="*/ 147210 w 252927"/>
              <a:gd name="connsiteY5" fmla="*/ 283367 h 336525"/>
              <a:gd name="connsiteX6" fmla="*/ 252927 w 252927"/>
              <a:gd name="connsiteY6" fmla="*/ 336525 h 336525"/>
              <a:gd name="connsiteX7" fmla="*/ 252927 w 252927"/>
              <a:gd name="connsiteY7" fmla="*/ 126460 h 336525"/>
              <a:gd name="connsiteX8" fmla="*/ 242989 w 252927"/>
              <a:gd name="connsiteY8" fmla="*/ 77239 h 336525"/>
              <a:gd name="connsiteX9" fmla="*/ 175689 w 252927"/>
              <a:gd name="connsiteY9" fmla="*/ 9939 h 336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2927" h="336525">
                <a:moveTo>
                  <a:pt x="175689" y="9939"/>
                </a:moveTo>
                <a:cubicBezTo>
                  <a:pt x="160559" y="3539"/>
                  <a:pt x="143925" y="1"/>
                  <a:pt x="126464" y="1"/>
                </a:cubicBezTo>
                <a:cubicBezTo>
                  <a:pt x="56620" y="0"/>
                  <a:pt x="-1" y="56620"/>
                  <a:pt x="0" y="126464"/>
                </a:cubicBezTo>
                <a:lnTo>
                  <a:pt x="0" y="184775"/>
                </a:lnTo>
                <a:lnTo>
                  <a:pt x="32160" y="210140"/>
                </a:lnTo>
                <a:cubicBezTo>
                  <a:pt x="68858" y="236205"/>
                  <a:pt x="107222" y="260665"/>
                  <a:pt x="147210" y="283367"/>
                </a:cubicBezTo>
                <a:lnTo>
                  <a:pt x="252927" y="336525"/>
                </a:lnTo>
                <a:lnTo>
                  <a:pt x="252927" y="126460"/>
                </a:lnTo>
                <a:lnTo>
                  <a:pt x="242989" y="77239"/>
                </a:lnTo>
                <a:cubicBezTo>
                  <a:pt x="230191" y="46979"/>
                  <a:pt x="205949" y="22737"/>
                  <a:pt x="175689" y="9939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fontScale="70000" lnSpcReduction="20000"/>
          </a:bodyPr>
          <a:lstStyle/>
          <a:p>
            <a:pPr algn="ctr"/>
          </a:p>
        </p:txBody>
      </p:sp>
      <p:sp>
        <p:nvSpPr>
          <p:cNvPr id="27" name="等腰三角形 26"/>
          <p:cNvSpPr/>
          <p:nvPr/>
        </p:nvSpPr>
        <p:spPr bwMode="auto">
          <a:xfrm rot="10800000">
            <a:off x="1665232" y="4203166"/>
            <a:ext cx="530336" cy="343159"/>
          </a:xfrm>
          <a:prstGeom prst="triangle">
            <a:avLst/>
          </a:prstGeom>
          <a:solidFill>
            <a:schemeClr val="bg1">
              <a:lumMod val="65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fontScale="32500" lnSpcReduction="20000"/>
          </a:bodyPr>
          <a:lstStyle/>
          <a:p>
            <a:pPr algn="ctr"/>
          </a:p>
        </p:txBody>
      </p:sp>
      <p:sp>
        <p:nvSpPr>
          <p:cNvPr id="28" name="椭圆 27"/>
          <p:cNvSpPr/>
          <p:nvPr/>
        </p:nvSpPr>
        <p:spPr bwMode="auto">
          <a:xfrm>
            <a:off x="1517050" y="3548045"/>
            <a:ext cx="826701" cy="82670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</a:ln>
        </p:spPr>
        <p:txBody>
          <a:bodyPr rot="0" spcFirstLastPara="0" vert="horz" wrap="square" lIns="91440" tIns="45720" rIns="91440" bIns="45720" anchor="ctr" anchorCtr="1" forceAA="0" compatLnSpc="1">
            <a:normAutofit/>
          </a:bodyPr>
          <a:lstStyle/>
          <a:p>
            <a:pPr algn="ctr"/>
            <a:r>
              <a:rPr lang="en-US" altLang="zh-CN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Impact" panose="020B0806030902050204" pitchFamily="34" charset="0"/>
              </a:rPr>
              <a:t>01</a:t>
            </a:r>
            <a:endParaRPr lang="en-US" altLang="zh-CN" sz="2400" dirty="0">
              <a:solidFill>
                <a:schemeClr val="tx1">
                  <a:lumMod val="50000"/>
                  <a:lumOff val="50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673101" y="4832115"/>
            <a:ext cx="251460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normAutofit fontScale="72500"/>
          </a:bodyPr>
          <a:lstStyle/>
          <a:p>
            <a:pPr algn="ctr"/>
            <a:r>
              <a:rPr lang="zh-CN" altLang="en-US" sz="2400" b="1" dirty="0"/>
              <a:t>背景</a:t>
            </a:r>
            <a:endParaRPr lang="zh-CN" altLang="en-US" sz="2400" b="1" dirty="0"/>
          </a:p>
        </p:txBody>
      </p:sp>
      <p:sp>
        <p:nvSpPr>
          <p:cNvPr id="24" name="矩形 23"/>
          <p:cNvSpPr/>
          <p:nvPr/>
        </p:nvSpPr>
        <p:spPr>
          <a:xfrm>
            <a:off x="3450167" y="4846720"/>
            <a:ext cx="251460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normAutofit fontScale="72500"/>
          </a:bodyPr>
          <a:lstStyle/>
          <a:p>
            <a:pPr algn="ctr"/>
            <a:r>
              <a:rPr lang="zh-CN" altLang="en-US" sz="2400" b="1" dirty="0"/>
              <a:t>现状</a:t>
            </a:r>
            <a:endParaRPr lang="zh-CN" altLang="en-US" sz="2400" b="1" dirty="0"/>
          </a:p>
        </p:txBody>
      </p:sp>
      <p:sp>
        <p:nvSpPr>
          <p:cNvPr id="22" name="矩形 21"/>
          <p:cNvSpPr/>
          <p:nvPr/>
        </p:nvSpPr>
        <p:spPr>
          <a:xfrm>
            <a:off x="6227233" y="4832115"/>
            <a:ext cx="251460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normAutofit fontScale="72500"/>
          </a:bodyPr>
          <a:lstStyle/>
          <a:p>
            <a:pPr algn="ctr"/>
            <a:r>
              <a:rPr lang="zh-CN" altLang="en-US" sz="2400" b="1" dirty="0"/>
              <a:t>意义</a:t>
            </a:r>
            <a:endParaRPr lang="zh-CN" altLang="en-US" sz="2400" b="1" dirty="0"/>
          </a:p>
        </p:txBody>
      </p:sp>
      <p:sp>
        <p:nvSpPr>
          <p:cNvPr id="20" name="矩形 19"/>
          <p:cNvSpPr/>
          <p:nvPr/>
        </p:nvSpPr>
        <p:spPr>
          <a:xfrm>
            <a:off x="9004300" y="4832115"/>
            <a:ext cx="251460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normAutofit fontScale="72500"/>
          </a:bodyPr>
          <a:lstStyle/>
          <a:p>
            <a:pPr algn="ctr"/>
            <a:r>
              <a:rPr lang="zh-CN" altLang="en-US" sz="2400" b="1" dirty="0"/>
              <a:t>计划</a:t>
            </a:r>
            <a:endParaRPr lang="zh-CN" altLang="en-US" sz="2400" b="1" dirty="0"/>
          </a:p>
        </p:txBody>
      </p:sp>
      <p:sp>
        <p:nvSpPr>
          <p:cNvPr id="17" name="等腰三角形 16"/>
          <p:cNvSpPr/>
          <p:nvPr/>
        </p:nvSpPr>
        <p:spPr bwMode="auto">
          <a:xfrm rot="10800000">
            <a:off x="4442298" y="4203166"/>
            <a:ext cx="530336" cy="343159"/>
          </a:xfrm>
          <a:prstGeom prst="triangle">
            <a:avLst/>
          </a:prstGeom>
          <a:solidFill>
            <a:schemeClr val="accent1"/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fontScale="32500" lnSpcReduction="20000"/>
          </a:bodyPr>
          <a:lstStyle/>
          <a:p>
            <a:pPr algn="ctr"/>
          </a:p>
        </p:txBody>
      </p:sp>
      <p:sp>
        <p:nvSpPr>
          <p:cNvPr id="18" name="椭圆 17"/>
          <p:cNvSpPr/>
          <p:nvPr/>
        </p:nvSpPr>
        <p:spPr bwMode="auto">
          <a:xfrm>
            <a:off x="4294116" y="3548045"/>
            <a:ext cx="826701" cy="82670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</a:ln>
        </p:spPr>
        <p:txBody>
          <a:bodyPr rot="0" spcFirstLastPara="0" vert="horz" wrap="square" lIns="91440" tIns="45720" rIns="91440" bIns="45720" anchor="ctr" anchorCtr="1" forceAA="0" compatLnSpc="1">
            <a:normAutofit/>
          </a:bodyPr>
          <a:lstStyle/>
          <a:p>
            <a:pPr algn="ctr"/>
            <a:r>
              <a:rPr lang="en-US" altLang="zh-CN" sz="2400" dirty="0">
                <a:solidFill>
                  <a:schemeClr val="accent1"/>
                </a:solidFill>
                <a:latin typeface="Impact" panose="020B0806030902050204" pitchFamily="34" charset="0"/>
              </a:rPr>
              <a:t>02</a:t>
            </a:r>
            <a:endParaRPr lang="en-US" altLang="zh-CN" sz="2400" dirty="0">
              <a:solidFill>
                <a:schemeClr val="accent1"/>
              </a:solidFill>
              <a:latin typeface="Impact" panose="020B0806030902050204" pitchFamily="34" charset="0"/>
            </a:endParaRPr>
          </a:p>
        </p:txBody>
      </p:sp>
      <p:sp>
        <p:nvSpPr>
          <p:cNvPr id="15" name="等腰三角形 14"/>
          <p:cNvSpPr/>
          <p:nvPr/>
        </p:nvSpPr>
        <p:spPr bwMode="auto">
          <a:xfrm rot="10800000">
            <a:off x="7219364" y="4203166"/>
            <a:ext cx="530336" cy="343159"/>
          </a:xfrm>
          <a:prstGeom prst="triangle">
            <a:avLst/>
          </a:prstGeom>
          <a:solidFill>
            <a:schemeClr val="bg1">
              <a:lumMod val="65000"/>
            </a:schemeClr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fontScale="32500" lnSpcReduction="20000"/>
          </a:bodyPr>
          <a:lstStyle/>
          <a:p>
            <a:pPr algn="ctr"/>
          </a:p>
        </p:txBody>
      </p:sp>
      <p:sp>
        <p:nvSpPr>
          <p:cNvPr id="16" name="椭圆 15"/>
          <p:cNvSpPr/>
          <p:nvPr/>
        </p:nvSpPr>
        <p:spPr bwMode="auto">
          <a:xfrm>
            <a:off x="7071182" y="3548045"/>
            <a:ext cx="826701" cy="82670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</a:ln>
        </p:spPr>
        <p:txBody>
          <a:bodyPr rot="0" spcFirstLastPara="0" vert="horz" wrap="square" lIns="91440" tIns="45720" rIns="91440" bIns="45720" anchor="ctr" anchorCtr="1" forceAA="0" compatLnSpc="1">
            <a:normAutofit/>
          </a:bodyPr>
          <a:lstStyle/>
          <a:p>
            <a:pPr algn="ctr"/>
            <a:r>
              <a:rPr lang="en-US" altLang="zh-CN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Impact" panose="020B0806030902050204" pitchFamily="34" charset="0"/>
              </a:rPr>
              <a:t>03</a:t>
            </a:r>
            <a:endParaRPr lang="en-US" altLang="zh-CN" sz="2400" dirty="0">
              <a:solidFill>
                <a:schemeClr val="tx1">
                  <a:lumMod val="50000"/>
                  <a:lumOff val="50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13" name="等腰三角形 12"/>
          <p:cNvSpPr/>
          <p:nvPr/>
        </p:nvSpPr>
        <p:spPr bwMode="auto">
          <a:xfrm rot="10800000">
            <a:off x="9996430" y="4203166"/>
            <a:ext cx="530336" cy="343159"/>
          </a:xfrm>
          <a:prstGeom prst="triangle">
            <a:avLst/>
          </a:prstGeom>
          <a:solidFill>
            <a:schemeClr val="accent1"/>
          </a:solidFill>
          <a:ln w="19050">
            <a:noFill/>
            <a:round/>
          </a:ln>
        </p:spPr>
        <p:txBody>
          <a:bodyPr wrap="square" lIns="91440" tIns="45720" rIns="91440" bIns="45720" anchor="ctr">
            <a:normAutofit fontScale="32500" lnSpcReduction="20000"/>
          </a:bodyPr>
          <a:lstStyle/>
          <a:p>
            <a:pPr algn="ctr"/>
          </a:p>
        </p:txBody>
      </p:sp>
      <p:sp>
        <p:nvSpPr>
          <p:cNvPr id="14" name="椭圆 13"/>
          <p:cNvSpPr/>
          <p:nvPr/>
        </p:nvSpPr>
        <p:spPr bwMode="auto">
          <a:xfrm>
            <a:off x="9848248" y="3548045"/>
            <a:ext cx="826701" cy="82670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</a:ln>
        </p:spPr>
        <p:txBody>
          <a:bodyPr rot="0" spcFirstLastPara="0" vert="horz" wrap="square" lIns="91440" tIns="45720" rIns="91440" bIns="45720" anchor="ctr" anchorCtr="1" forceAA="0" compatLnSpc="1">
            <a:normAutofit/>
          </a:bodyPr>
          <a:lstStyle/>
          <a:p>
            <a:pPr algn="ctr"/>
            <a:r>
              <a:rPr lang="en-US" altLang="zh-CN" sz="2400" dirty="0">
                <a:solidFill>
                  <a:schemeClr val="accent1"/>
                </a:solidFill>
                <a:latin typeface="Impact" panose="020B0806030902050204" pitchFamily="34" charset="0"/>
              </a:rPr>
              <a:t>04</a:t>
            </a:r>
            <a:endParaRPr lang="en-US" altLang="zh-CN" sz="2400" dirty="0">
              <a:solidFill>
                <a:schemeClr val="accent1"/>
              </a:solidFill>
              <a:latin typeface="Impact" panose="020B0806030902050204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ym typeface="+mn-ea"/>
              </a:rPr>
              <a:t>背景</a:t>
            </a:r>
            <a:endParaRPr lang="zh-CN" altLang="en-US" dirty="0"/>
          </a:p>
        </p:txBody>
      </p:sp>
      <p:sp>
        <p:nvSpPr>
          <p:cNvPr id="9" name="文本框 8"/>
          <p:cNvSpPr txBox="1"/>
          <p:nvPr/>
        </p:nvSpPr>
        <p:spPr>
          <a:xfrm>
            <a:off x="3683554" y="2759231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背景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24" name="任意多边形: 形状 23"/>
          <p:cNvSpPr/>
          <p:nvPr/>
        </p:nvSpPr>
        <p:spPr bwMode="auto">
          <a:xfrm>
            <a:off x="5671272" y="4674989"/>
            <a:ext cx="230034" cy="888009"/>
          </a:xfrm>
          <a:custGeom>
            <a:avLst/>
            <a:gdLst>
              <a:gd name="T0" fmla="*/ 76 w 76"/>
              <a:gd name="T1" fmla="*/ 292 h 292"/>
              <a:gd name="T2" fmla="*/ 53 w 76"/>
              <a:gd name="T3" fmla="*/ 292 h 292"/>
              <a:gd name="T4" fmla="*/ 0 w 76"/>
              <a:gd name="T5" fmla="*/ 10 h 292"/>
              <a:gd name="T6" fmla="*/ 21 w 76"/>
              <a:gd name="T7" fmla="*/ 0 h 292"/>
              <a:gd name="T8" fmla="*/ 76 w 76"/>
              <a:gd name="T9" fmla="*/ 29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" h="292">
                <a:moveTo>
                  <a:pt x="76" y="292"/>
                </a:moveTo>
                <a:cubicBezTo>
                  <a:pt x="53" y="292"/>
                  <a:pt x="53" y="292"/>
                  <a:pt x="53" y="292"/>
                </a:cubicBezTo>
                <a:cubicBezTo>
                  <a:pt x="53" y="118"/>
                  <a:pt x="1" y="11"/>
                  <a:pt x="0" y="10"/>
                </a:cubicBezTo>
                <a:cubicBezTo>
                  <a:pt x="21" y="0"/>
                  <a:pt x="21" y="0"/>
                  <a:pt x="21" y="0"/>
                </a:cubicBezTo>
                <a:cubicBezTo>
                  <a:pt x="24" y="4"/>
                  <a:pt x="76" y="112"/>
                  <a:pt x="76" y="29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5" name="任意多边形: 形状 24"/>
          <p:cNvSpPr/>
          <p:nvPr/>
        </p:nvSpPr>
        <p:spPr bwMode="auto">
          <a:xfrm>
            <a:off x="6123630" y="4648003"/>
            <a:ext cx="231319" cy="888009"/>
          </a:xfrm>
          <a:custGeom>
            <a:avLst/>
            <a:gdLst>
              <a:gd name="T0" fmla="*/ 24 w 76"/>
              <a:gd name="T1" fmla="*/ 292 h 292"/>
              <a:gd name="T2" fmla="*/ 0 w 76"/>
              <a:gd name="T3" fmla="*/ 292 h 292"/>
              <a:gd name="T4" fmla="*/ 55 w 76"/>
              <a:gd name="T5" fmla="*/ 0 h 292"/>
              <a:gd name="T6" fmla="*/ 76 w 76"/>
              <a:gd name="T7" fmla="*/ 11 h 292"/>
              <a:gd name="T8" fmla="*/ 66 w 76"/>
              <a:gd name="T9" fmla="*/ 6 h 292"/>
              <a:gd name="T10" fmla="*/ 76 w 76"/>
              <a:gd name="T11" fmla="*/ 11 h 292"/>
              <a:gd name="T12" fmla="*/ 24 w 76"/>
              <a:gd name="T13" fmla="*/ 29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6" h="292">
                <a:moveTo>
                  <a:pt x="24" y="292"/>
                </a:moveTo>
                <a:cubicBezTo>
                  <a:pt x="0" y="292"/>
                  <a:pt x="0" y="292"/>
                  <a:pt x="0" y="292"/>
                </a:cubicBezTo>
                <a:cubicBezTo>
                  <a:pt x="0" y="113"/>
                  <a:pt x="53" y="5"/>
                  <a:pt x="55" y="0"/>
                </a:cubicBezTo>
                <a:cubicBezTo>
                  <a:pt x="76" y="11"/>
                  <a:pt x="76" y="11"/>
                  <a:pt x="76" y="11"/>
                </a:cubicBezTo>
                <a:cubicBezTo>
                  <a:pt x="66" y="6"/>
                  <a:pt x="66" y="6"/>
                  <a:pt x="66" y="6"/>
                </a:cubicBezTo>
                <a:cubicBezTo>
                  <a:pt x="76" y="11"/>
                  <a:pt x="76" y="11"/>
                  <a:pt x="76" y="11"/>
                </a:cubicBezTo>
                <a:cubicBezTo>
                  <a:pt x="76" y="12"/>
                  <a:pt x="24" y="119"/>
                  <a:pt x="24" y="29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6056805" y="1899158"/>
            <a:ext cx="1252979" cy="1252979"/>
          </a:xfrm>
          <a:custGeom>
            <a:avLst/>
            <a:gdLst>
              <a:gd name="T0" fmla="*/ 52 w 412"/>
              <a:gd name="T1" fmla="*/ 112 h 412"/>
              <a:gd name="T2" fmla="*/ 112 w 412"/>
              <a:gd name="T3" fmla="*/ 361 h 412"/>
              <a:gd name="T4" fmla="*/ 360 w 412"/>
              <a:gd name="T5" fmla="*/ 300 h 412"/>
              <a:gd name="T6" fmla="*/ 300 w 412"/>
              <a:gd name="T7" fmla="*/ 52 h 412"/>
              <a:gd name="T8" fmla="*/ 52 w 412"/>
              <a:gd name="T9" fmla="*/ 112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2" h="412">
                <a:moveTo>
                  <a:pt x="52" y="112"/>
                </a:moveTo>
                <a:cubicBezTo>
                  <a:pt x="0" y="198"/>
                  <a:pt x="27" y="309"/>
                  <a:pt x="112" y="361"/>
                </a:cubicBezTo>
                <a:cubicBezTo>
                  <a:pt x="197" y="412"/>
                  <a:pt x="308" y="385"/>
                  <a:pt x="360" y="300"/>
                </a:cubicBezTo>
                <a:cubicBezTo>
                  <a:pt x="412" y="215"/>
                  <a:pt x="385" y="104"/>
                  <a:pt x="300" y="52"/>
                </a:cubicBezTo>
                <a:cubicBezTo>
                  <a:pt x="214" y="0"/>
                  <a:pt x="103" y="27"/>
                  <a:pt x="52" y="11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7" name="任意多边形: 形状 26"/>
          <p:cNvSpPr/>
          <p:nvPr/>
        </p:nvSpPr>
        <p:spPr bwMode="auto">
          <a:xfrm>
            <a:off x="5749665" y="1592018"/>
            <a:ext cx="1869831" cy="1863405"/>
          </a:xfrm>
          <a:custGeom>
            <a:avLst/>
            <a:gdLst>
              <a:gd name="T0" fmla="*/ 109 w 615"/>
              <a:gd name="T1" fmla="*/ 156 h 613"/>
              <a:gd name="T2" fmla="*/ 50 w 615"/>
              <a:gd name="T3" fmla="*/ 137 h 613"/>
              <a:gd name="T4" fmla="*/ 70 w 615"/>
              <a:gd name="T5" fmla="*/ 231 h 613"/>
              <a:gd name="T6" fmla="*/ 59 w 615"/>
              <a:gd name="T7" fmla="*/ 270 h 613"/>
              <a:gd name="T8" fmla="*/ 1 w 615"/>
              <a:gd name="T9" fmla="*/ 344 h 613"/>
              <a:gd name="T10" fmla="*/ 73 w 615"/>
              <a:gd name="T11" fmla="*/ 393 h 613"/>
              <a:gd name="T12" fmla="*/ 26 w 615"/>
              <a:gd name="T13" fmla="*/ 432 h 613"/>
              <a:gd name="T14" fmla="*/ 116 w 615"/>
              <a:gd name="T15" fmla="*/ 466 h 613"/>
              <a:gd name="T16" fmla="*/ 144 w 615"/>
              <a:gd name="T17" fmla="*/ 496 h 613"/>
              <a:gd name="T18" fmla="*/ 175 w 615"/>
              <a:gd name="T19" fmla="*/ 583 h 613"/>
              <a:gd name="T20" fmla="*/ 267 w 615"/>
              <a:gd name="T21" fmla="*/ 553 h 613"/>
              <a:gd name="T22" fmla="*/ 277 w 615"/>
              <a:gd name="T23" fmla="*/ 613 h 613"/>
              <a:gd name="T24" fmla="*/ 351 w 615"/>
              <a:gd name="T25" fmla="*/ 552 h 613"/>
              <a:gd name="T26" fmla="*/ 409 w 615"/>
              <a:gd name="T27" fmla="*/ 536 h 613"/>
              <a:gd name="T28" fmla="*/ 503 w 615"/>
              <a:gd name="T29" fmla="*/ 545 h 613"/>
              <a:gd name="T30" fmla="*/ 479 w 615"/>
              <a:gd name="T31" fmla="*/ 487 h 613"/>
              <a:gd name="T32" fmla="*/ 507 w 615"/>
              <a:gd name="T33" fmla="*/ 458 h 613"/>
              <a:gd name="T34" fmla="*/ 593 w 615"/>
              <a:gd name="T35" fmla="*/ 421 h 613"/>
              <a:gd name="T36" fmla="*/ 544 w 615"/>
              <a:gd name="T37" fmla="*/ 382 h 613"/>
              <a:gd name="T38" fmla="*/ 555 w 615"/>
              <a:gd name="T39" fmla="*/ 344 h 613"/>
              <a:gd name="T40" fmla="*/ 613 w 615"/>
              <a:gd name="T41" fmla="*/ 270 h 613"/>
              <a:gd name="T42" fmla="*/ 551 w 615"/>
              <a:gd name="T43" fmla="*/ 259 h 613"/>
              <a:gd name="T44" fmla="*/ 542 w 615"/>
              <a:gd name="T45" fmla="*/ 220 h 613"/>
              <a:gd name="T46" fmla="*/ 558 w 615"/>
              <a:gd name="T47" fmla="*/ 127 h 613"/>
              <a:gd name="T48" fmla="*/ 494 w 615"/>
              <a:gd name="T49" fmla="*/ 145 h 613"/>
              <a:gd name="T50" fmla="*/ 464 w 615"/>
              <a:gd name="T51" fmla="*/ 113 h 613"/>
              <a:gd name="T52" fmla="*/ 437 w 615"/>
              <a:gd name="T53" fmla="*/ 35 h 613"/>
              <a:gd name="T54" fmla="*/ 397 w 615"/>
              <a:gd name="T55" fmla="*/ 77 h 613"/>
              <a:gd name="T56" fmla="*/ 348 w 615"/>
              <a:gd name="T57" fmla="*/ 60 h 613"/>
              <a:gd name="T58" fmla="*/ 275 w 615"/>
              <a:gd name="T59" fmla="*/ 0 h 613"/>
              <a:gd name="T60" fmla="*/ 264 w 615"/>
              <a:gd name="T61" fmla="*/ 62 h 613"/>
              <a:gd name="T62" fmla="*/ 205 w 615"/>
              <a:gd name="T63" fmla="*/ 78 h 613"/>
              <a:gd name="T64" fmla="*/ 112 w 615"/>
              <a:gd name="T65" fmla="*/ 69 h 613"/>
              <a:gd name="T66" fmla="*/ 414 w 615"/>
              <a:gd name="T67" fmla="*/ 131 h 613"/>
              <a:gd name="T68" fmla="*/ 200 w 615"/>
              <a:gd name="T69" fmla="*/ 484 h 613"/>
              <a:gd name="T70" fmla="*/ 414 w 615"/>
              <a:gd name="T71" fmla="*/ 131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15" h="613">
                <a:moveTo>
                  <a:pt x="136" y="126"/>
                </a:moveTo>
                <a:cubicBezTo>
                  <a:pt x="126" y="135"/>
                  <a:pt x="117" y="145"/>
                  <a:pt x="109" y="156"/>
                </a:cubicBezTo>
                <a:cubicBezTo>
                  <a:pt x="108" y="155"/>
                  <a:pt x="108" y="155"/>
                  <a:pt x="108" y="155"/>
                </a:cubicBezTo>
                <a:cubicBezTo>
                  <a:pt x="50" y="137"/>
                  <a:pt x="50" y="137"/>
                  <a:pt x="50" y="137"/>
                </a:cubicBezTo>
                <a:cubicBezTo>
                  <a:pt x="21" y="192"/>
                  <a:pt x="21" y="192"/>
                  <a:pt x="21" y="192"/>
                </a:cubicBezTo>
                <a:cubicBezTo>
                  <a:pt x="70" y="231"/>
                  <a:pt x="70" y="231"/>
                  <a:pt x="70" y="231"/>
                </a:cubicBezTo>
                <a:cubicBezTo>
                  <a:pt x="66" y="244"/>
                  <a:pt x="63" y="257"/>
                  <a:pt x="61" y="270"/>
                </a:cubicBezTo>
                <a:cubicBezTo>
                  <a:pt x="59" y="270"/>
                  <a:pt x="59" y="270"/>
                  <a:pt x="59" y="270"/>
                </a:cubicBezTo>
                <a:cubicBezTo>
                  <a:pt x="0" y="281"/>
                  <a:pt x="0" y="281"/>
                  <a:pt x="0" y="281"/>
                </a:cubicBezTo>
                <a:cubicBezTo>
                  <a:pt x="1" y="344"/>
                  <a:pt x="1" y="344"/>
                  <a:pt x="1" y="344"/>
                </a:cubicBezTo>
                <a:cubicBezTo>
                  <a:pt x="62" y="354"/>
                  <a:pt x="62" y="354"/>
                  <a:pt x="62" y="354"/>
                </a:cubicBezTo>
                <a:cubicBezTo>
                  <a:pt x="65" y="367"/>
                  <a:pt x="69" y="380"/>
                  <a:pt x="73" y="393"/>
                </a:cubicBezTo>
                <a:cubicBezTo>
                  <a:pt x="72" y="394"/>
                  <a:pt x="72" y="394"/>
                  <a:pt x="72" y="394"/>
                </a:cubicBezTo>
                <a:cubicBezTo>
                  <a:pt x="26" y="432"/>
                  <a:pt x="26" y="432"/>
                  <a:pt x="26" y="432"/>
                </a:cubicBezTo>
                <a:cubicBezTo>
                  <a:pt x="57" y="486"/>
                  <a:pt x="57" y="486"/>
                  <a:pt x="57" y="486"/>
                </a:cubicBezTo>
                <a:cubicBezTo>
                  <a:pt x="116" y="466"/>
                  <a:pt x="116" y="466"/>
                  <a:pt x="116" y="466"/>
                </a:cubicBezTo>
                <a:cubicBezTo>
                  <a:pt x="124" y="477"/>
                  <a:pt x="128" y="483"/>
                  <a:pt x="144" y="495"/>
                </a:cubicBezTo>
                <a:cubicBezTo>
                  <a:pt x="144" y="496"/>
                  <a:pt x="144" y="496"/>
                  <a:pt x="144" y="496"/>
                </a:cubicBezTo>
                <a:cubicBezTo>
                  <a:pt x="122" y="551"/>
                  <a:pt x="122" y="551"/>
                  <a:pt x="122" y="551"/>
                </a:cubicBezTo>
                <a:cubicBezTo>
                  <a:pt x="175" y="583"/>
                  <a:pt x="175" y="583"/>
                  <a:pt x="175" y="583"/>
                </a:cubicBezTo>
                <a:cubicBezTo>
                  <a:pt x="216" y="538"/>
                  <a:pt x="216" y="538"/>
                  <a:pt x="216" y="538"/>
                </a:cubicBezTo>
                <a:cubicBezTo>
                  <a:pt x="233" y="545"/>
                  <a:pt x="249" y="550"/>
                  <a:pt x="267" y="553"/>
                </a:cubicBezTo>
                <a:cubicBezTo>
                  <a:pt x="266" y="554"/>
                  <a:pt x="266" y="554"/>
                  <a:pt x="266" y="554"/>
                </a:cubicBezTo>
                <a:cubicBezTo>
                  <a:pt x="277" y="613"/>
                  <a:pt x="277" y="613"/>
                  <a:pt x="277" y="613"/>
                </a:cubicBezTo>
                <a:cubicBezTo>
                  <a:pt x="339" y="613"/>
                  <a:pt x="339" y="613"/>
                  <a:pt x="339" y="613"/>
                </a:cubicBezTo>
                <a:cubicBezTo>
                  <a:pt x="351" y="552"/>
                  <a:pt x="351" y="552"/>
                  <a:pt x="351" y="552"/>
                </a:cubicBezTo>
                <a:cubicBezTo>
                  <a:pt x="371" y="549"/>
                  <a:pt x="390" y="543"/>
                  <a:pt x="409" y="534"/>
                </a:cubicBezTo>
                <a:cubicBezTo>
                  <a:pt x="409" y="536"/>
                  <a:pt x="409" y="536"/>
                  <a:pt x="409" y="536"/>
                </a:cubicBezTo>
                <a:cubicBezTo>
                  <a:pt x="451" y="579"/>
                  <a:pt x="451" y="579"/>
                  <a:pt x="451" y="579"/>
                </a:cubicBezTo>
                <a:cubicBezTo>
                  <a:pt x="503" y="545"/>
                  <a:pt x="503" y="545"/>
                  <a:pt x="503" y="545"/>
                </a:cubicBezTo>
                <a:cubicBezTo>
                  <a:pt x="479" y="487"/>
                  <a:pt x="479" y="487"/>
                  <a:pt x="479" y="487"/>
                </a:cubicBezTo>
                <a:cubicBezTo>
                  <a:pt x="479" y="487"/>
                  <a:pt x="479" y="487"/>
                  <a:pt x="479" y="487"/>
                </a:cubicBezTo>
                <a:cubicBezTo>
                  <a:pt x="488" y="478"/>
                  <a:pt x="497" y="468"/>
                  <a:pt x="506" y="458"/>
                </a:cubicBezTo>
                <a:cubicBezTo>
                  <a:pt x="507" y="458"/>
                  <a:pt x="507" y="458"/>
                  <a:pt x="507" y="458"/>
                </a:cubicBezTo>
                <a:cubicBezTo>
                  <a:pt x="565" y="477"/>
                  <a:pt x="565" y="477"/>
                  <a:pt x="565" y="477"/>
                </a:cubicBezTo>
                <a:cubicBezTo>
                  <a:pt x="593" y="421"/>
                  <a:pt x="593" y="421"/>
                  <a:pt x="593" y="421"/>
                </a:cubicBezTo>
                <a:cubicBezTo>
                  <a:pt x="545" y="382"/>
                  <a:pt x="545" y="382"/>
                  <a:pt x="545" y="382"/>
                </a:cubicBezTo>
                <a:cubicBezTo>
                  <a:pt x="544" y="382"/>
                  <a:pt x="544" y="382"/>
                  <a:pt x="544" y="382"/>
                </a:cubicBezTo>
                <a:cubicBezTo>
                  <a:pt x="548" y="370"/>
                  <a:pt x="551" y="357"/>
                  <a:pt x="553" y="344"/>
                </a:cubicBezTo>
                <a:cubicBezTo>
                  <a:pt x="555" y="344"/>
                  <a:pt x="555" y="344"/>
                  <a:pt x="555" y="344"/>
                </a:cubicBezTo>
                <a:cubicBezTo>
                  <a:pt x="615" y="332"/>
                  <a:pt x="615" y="332"/>
                  <a:pt x="615" y="332"/>
                </a:cubicBezTo>
                <a:cubicBezTo>
                  <a:pt x="613" y="270"/>
                  <a:pt x="613" y="270"/>
                  <a:pt x="613" y="270"/>
                </a:cubicBezTo>
                <a:cubicBezTo>
                  <a:pt x="552" y="259"/>
                  <a:pt x="552" y="259"/>
                  <a:pt x="552" y="259"/>
                </a:cubicBezTo>
                <a:cubicBezTo>
                  <a:pt x="551" y="259"/>
                  <a:pt x="551" y="259"/>
                  <a:pt x="551" y="259"/>
                </a:cubicBezTo>
                <a:cubicBezTo>
                  <a:pt x="548" y="246"/>
                  <a:pt x="545" y="233"/>
                  <a:pt x="540" y="221"/>
                </a:cubicBezTo>
                <a:cubicBezTo>
                  <a:pt x="542" y="220"/>
                  <a:pt x="542" y="220"/>
                  <a:pt x="542" y="220"/>
                </a:cubicBezTo>
                <a:cubicBezTo>
                  <a:pt x="589" y="181"/>
                  <a:pt x="589" y="181"/>
                  <a:pt x="589" y="181"/>
                </a:cubicBezTo>
                <a:cubicBezTo>
                  <a:pt x="558" y="127"/>
                  <a:pt x="558" y="127"/>
                  <a:pt x="558" y="127"/>
                </a:cubicBezTo>
                <a:cubicBezTo>
                  <a:pt x="499" y="147"/>
                  <a:pt x="499" y="147"/>
                  <a:pt x="499" y="147"/>
                </a:cubicBezTo>
                <a:cubicBezTo>
                  <a:pt x="494" y="145"/>
                  <a:pt x="494" y="145"/>
                  <a:pt x="494" y="145"/>
                </a:cubicBezTo>
                <a:cubicBezTo>
                  <a:pt x="486" y="135"/>
                  <a:pt x="479" y="127"/>
                  <a:pt x="463" y="115"/>
                </a:cubicBezTo>
                <a:cubicBezTo>
                  <a:pt x="464" y="113"/>
                  <a:pt x="464" y="113"/>
                  <a:pt x="464" y="113"/>
                </a:cubicBezTo>
                <a:cubicBezTo>
                  <a:pt x="490" y="68"/>
                  <a:pt x="490" y="68"/>
                  <a:pt x="490" y="68"/>
                </a:cubicBezTo>
                <a:cubicBezTo>
                  <a:pt x="437" y="35"/>
                  <a:pt x="437" y="35"/>
                  <a:pt x="437" y="35"/>
                </a:cubicBezTo>
                <a:cubicBezTo>
                  <a:pt x="396" y="78"/>
                  <a:pt x="396" y="78"/>
                  <a:pt x="396" y="78"/>
                </a:cubicBezTo>
                <a:cubicBezTo>
                  <a:pt x="397" y="77"/>
                  <a:pt x="397" y="77"/>
                  <a:pt x="397" y="77"/>
                </a:cubicBezTo>
                <a:cubicBezTo>
                  <a:pt x="381" y="71"/>
                  <a:pt x="365" y="65"/>
                  <a:pt x="348" y="62"/>
                </a:cubicBezTo>
                <a:cubicBezTo>
                  <a:pt x="348" y="60"/>
                  <a:pt x="348" y="60"/>
                  <a:pt x="348" y="60"/>
                </a:cubicBezTo>
                <a:cubicBezTo>
                  <a:pt x="337" y="0"/>
                  <a:pt x="337" y="0"/>
                  <a:pt x="337" y="0"/>
                </a:cubicBezTo>
                <a:cubicBezTo>
                  <a:pt x="275" y="0"/>
                  <a:pt x="275" y="0"/>
                  <a:pt x="275" y="0"/>
                </a:cubicBezTo>
                <a:cubicBezTo>
                  <a:pt x="264" y="62"/>
                  <a:pt x="264" y="62"/>
                  <a:pt x="264" y="62"/>
                </a:cubicBezTo>
                <a:cubicBezTo>
                  <a:pt x="264" y="62"/>
                  <a:pt x="264" y="62"/>
                  <a:pt x="264" y="62"/>
                </a:cubicBezTo>
                <a:cubicBezTo>
                  <a:pt x="244" y="66"/>
                  <a:pt x="225" y="71"/>
                  <a:pt x="206" y="79"/>
                </a:cubicBezTo>
                <a:cubicBezTo>
                  <a:pt x="205" y="78"/>
                  <a:pt x="205" y="78"/>
                  <a:pt x="205" y="78"/>
                </a:cubicBezTo>
                <a:cubicBezTo>
                  <a:pt x="163" y="34"/>
                  <a:pt x="163" y="34"/>
                  <a:pt x="163" y="34"/>
                </a:cubicBezTo>
                <a:cubicBezTo>
                  <a:pt x="112" y="69"/>
                  <a:pt x="112" y="69"/>
                  <a:pt x="112" y="69"/>
                </a:cubicBezTo>
                <a:cubicBezTo>
                  <a:pt x="136" y="126"/>
                  <a:pt x="136" y="126"/>
                  <a:pt x="136" y="126"/>
                </a:cubicBezTo>
                <a:close/>
                <a:moveTo>
                  <a:pt x="414" y="131"/>
                </a:moveTo>
                <a:cubicBezTo>
                  <a:pt x="512" y="190"/>
                  <a:pt x="543" y="317"/>
                  <a:pt x="483" y="414"/>
                </a:cubicBezTo>
                <a:cubicBezTo>
                  <a:pt x="424" y="512"/>
                  <a:pt x="297" y="543"/>
                  <a:pt x="200" y="484"/>
                </a:cubicBezTo>
                <a:cubicBezTo>
                  <a:pt x="102" y="425"/>
                  <a:pt x="71" y="298"/>
                  <a:pt x="130" y="200"/>
                </a:cubicBezTo>
                <a:cubicBezTo>
                  <a:pt x="189" y="102"/>
                  <a:pt x="317" y="71"/>
                  <a:pt x="414" y="13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8" name="任意多边形: 形状 27"/>
          <p:cNvSpPr/>
          <p:nvPr/>
        </p:nvSpPr>
        <p:spPr bwMode="auto">
          <a:xfrm>
            <a:off x="5466941" y="3574939"/>
            <a:ext cx="1119328" cy="1115473"/>
          </a:xfrm>
          <a:custGeom>
            <a:avLst/>
            <a:gdLst>
              <a:gd name="T0" fmla="*/ 46 w 368"/>
              <a:gd name="T1" fmla="*/ 100 h 367"/>
              <a:gd name="T2" fmla="*/ 101 w 368"/>
              <a:gd name="T3" fmla="*/ 321 h 367"/>
              <a:gd name="T4" fmla="*/ 322 w 368"/>
              <a:gd name="T5" fmla="*/ 267 h 367"/>
              <a:gd name="T6" fmla="*/ 267 w 368"/>
              <a:gd name="T7" fmla="*/ 46 h 367"/>
              <a:gd name="T8" fmla="*/ 46 w 368"/>
              <a:gd name="T9" fmla="*/ 100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8" h="367">
                <a:moveTo>
                  <a:pt x="46" y="100"/>
                </a:moveTo>
                <a:cubicBezTo>
                  <a:pt x="0" y="176"/>
                  <a:pt x="25" y="275"/>
                  <a:pt x="101" y="321"/>
                </a:cubicBezTo>
                <a:cubicBezTo>
                  <a:pt x="176" y="367"/>
                  <a:pt x="275" y="343"/>
                  <a:pt x="322" y="267"/>
                </a:cubicBezTo>
                <a:cubicBezTo>
                  <a:pt x="368" y="191"/>
                  <a:pt x="343" y="92"/>
                  <a:pt x="267" y="46"/>
                </a:cubicBezTo>
                <a:cubicBezTo>
                  <a:pt x="192" y="0"/>
                  <a:pt x="93" y="24"/>
                  <a:pt x="46" y="1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9" name="任意多边形: 形状 28"/>
          <p:cNvSpPr/>
          <p:nvPr/>
        </p:nvSpPr>
        <p:spPr bwMode="auto">
          <a:xfrm>
            <a:off x="5195782" y="3301210"/>
            <a:ext cx="1664213" cy="1662928"/>
          </a:xfrm>
          <a:custGeom>
            <a:avLst/>
            <a:gdLst>
              <a:gd name="T0" fmla="*/ 97 w 547"/>
              <a:gd name="T1" fmla="*/ 139 h 547"/>
              <a:gd name="T2" fmla="*/ 44 w 547"/>
              <a:gd name="T3" fmla="*/ 122 h 547"/>
              <a:gd name="T4" fmla="*/ 62 w 547"/>
              <a:gd name="T5" fmla="*/ 206 h 547"/>
              <a:gd name="T6" fmla="*/ 52 w 547"/>
              <a:gd name="T7" fmla="*/ 240 h 547"/>
              <a:gd name="T8" fmla="*/ 1 w 547"/>
              <a:gd name="T9" fmla="*/ 306 h 547"/>
              <a:gd name="T10" fmla="*/ 65 w 547"/>
              <a:gd name="T11" fmla="*/ 350 h 547"/>
              <a:gd name="T12" fmla="*/ 23 w 547"/>
              <a:gd name="T13" fmla="*/ 385 h 547"/>
              <a:gd name="T14" fmla="*/ 103 w 547"/>
              <a:gd name="T15" fmla="*/ 416 h 547"/>
              <a:gd name="T16" fmla="*/ 128 w 547"/>
              <a:gd name="T17" fmla="*/ 442 h 547"/>
              <a:gd name="T18" fmla="*/ 155 w 547"/>
              <a:gd name="T19" fmla="*/ 520 h 547"/>
              <a:gd name="T20" fmla="*/ 237 w 547"/>
              <a:gd name="T21" fmla="*/ 492 h 547"/>
              <a:gd name="T22" fmla="*/ 247 w 547"/>
              <a:gd name="T23" fmla="*/ 547 h 547"/>
              <a:gd name="T24" fmla="*/ 312 w 547"/>
              <a:gd name="T25" fmla="*/ 492 h 547"/>
              <a:gd name="T26" fmla="*/ 364 w 547"/>
              <a:gd name="T27" fmla="*/ 477 h 547"/>
              <a:gd name="T28" fmla="*/ 448 w 547"/>
              <a:gd name="T29" fmla="*/ 486 h 547"/>
              <a:gd name="T30" fmla="*/ 426 w 547"/>
              <a:gd name="T31" fmla="*/ 434 h 547"/>
              <a:gd name="T32" fmla="*/ 451 w 547"/>
              <a:gd name="T33" fmla="*/ 408 h 547"/>
              <a:gd name="T34" fmla="*/ 528 w 547"/>
              <a:gd name="T35" fmla="*/ 376 h 547"/>
              <a:gd name="T36" fmla="*/ 484 w 547"/>
              <a:gd name="T37" fmla="*/ 341 h 547"/>
              <a:gd name="T38" fmla="*/ 494 w 547"/>
              <a:gd name="T39" fmla="*/ 306 h 547"/>
              <a:gd name="T40" fmla="*/ 546 w 547"/>
              <a:gd name="T41" fmla="*/ 240 h 547"/>
              <a:gd name="T42" fmla="*/ 491 w 547"/>
              <a:gd name="T43" fmla="*/ 231 h 547"/>
              <a:gd name="T44" fmla="*/ 483 w 547"/>
              <a:gd name="T45" fmla="*/ 196 h 547"/>
              <a:gd name="T46" fmla="*/ 497 w 547"/>
              <a:gd name="T47" fmla="*/ 113 h 547"/>
              <a:gd name="T48" fmla="*/ 440 w 547"/>
              <a:gd name="T49" fmla="*/ 130 h 547"/>
              <a:gd name="T50" fmla="*/ 413 w 547"/>
              <a:gd name="T51" fmla="*/ 101 h 547"/>
              <a:gd name="T52" fmla="*/ 389 w 547"/>
              <a:gd name="T53" fmla="*/ 32 h 547"/>
              <a:gd name="T54" fmla="*/ 353 w 547"/>
              <a:gd name="T55" fmla="*/ 69 h 547"/>
              <a:gd name="T56" fmla="*/ 310 w 547"/>
              <a:gd name="T57" fmla="*/ 53 h 547"/>
              <a:gd name="T58" fmla="*/ 245 w 547"/>
              <a:gd name="T59" fmla="*/ 0 h 547"/>
              <a:gd name="T60" fmla="*/ 235 w 547"/>
              <a:gd name="T61" fmla="*/ 55 h 547"/>
              <a:gd name="T62" fmla="*/ 182 w 547"/>
              <a:gd name="T63" fmla="*/ 69 h 547"/>
              <a:gd name="T64" fmla="*/ 99 w 547"/>
              <a:gd name="T65" fmla="*/ 61 h 547"/>
              <a:gd name="T66" fmla="*/ 121 w 547"/>
              <a:gd name="T67" fmla="*/ 113 h 547"/>
              <a:gd name="T68" fmla="*/ 430 w 547"/>
              <a:gd name="T69" fmla="*/ 369 h 547"/>
              <a:gd name="T70" fmla="*/ 116 w 547"/>
              <a:gd name="T71" fmla="*/ 178 h 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47" h="547">
                <a:moveTo>
                  <a:pt x="121" y="113"/>
                </a:moveTo>
                <a:cubicBezTo>
                  <a:pt x="112" y="121"/>
                  <a:pt x="104" y="129"/>
                  <a:pt x="97" y="139"/>
                </a:cubicBezTo>
                <a:cubicBezTo>
                  <a:pt x="95" y="138"/>
                  <a:pt x="95" y="138"/>
                  <a:pt x="95" y="138"/>
                </a:cubicBezTo>
                <a:cubicBezTo>
                  <a:pt x="44" y="122"/>
                  <a:pt x="44" y="122"/>
                  <a:pt x="44" y="122"/>
                </a:cubicBezTo>
                <a:cubicBezTo>
                  <a:pt x="19" y="171"/>
                  <a:pt x="19" y="171"/>
                  <a:pt x="19" y="171"/>
                </a:cubicBezTo>
                <a:cubicBezTo>
                  <a:pt x="62" y="206"/>
                  <a:pt x="62" y="206"/>
                  <a:pt x="62" y="206"/>
                </a:cubicBezTo>
                <a:cubicBezTo>
                  <a:pt x="58" y="217"/>
                  <a:pt x="55" y="229"/>
                  <a:pt x="53" y="240"/>
                </a:cubicBezTo>
                <a:cubicBezTo>
                  <a:pt x="52" y="240"/>
                  <a:pt x="52" y="240"/>
                  <a:pt x="52" y="240"/>
                </a:cubicBezTo>
                <a:cubicBezTo>
                  <a:pt x="0" y="251"/>
                  <a:pt x="0" y="251"/>
                  <a:pt x="0" y="251"/>
                </a:cubicBezTo>
                <a:cubicBezTo>
                  <a:pt x="1" y="306"/>
                  <a:pt x="1" y="306"/>
                  <a:pt x="1" y="306"/>
                </a:cubicBezTo>
                <a:cubicBezTo>
                  <a:pt x="55" y="316"/>
                  <a:pt x="55" y="316"/>
                  <a:pt x="55" y="316"/>
                </a:cubicBezTo>
                <a:cubicBezTo>
                  <a:pt x="57" y="328"/>
                  <a:pt x="61" y="339"/>
                  <a:pt x="65" y="350"/>
                </a:cubicBezTo>
                <a:cubicBezTo>
                  <a:pt x="64" y="351"/>
                  <a:pt x="64" y="351"/>
                  <a:pt x="64" y="351"/>
                </a:cubicBezTo>
                <a:cubicBezTo>
                  <a:pt x="23" y="385"/>
                  <a:pt x="23" y="385"/>
                  <a:pt x="23" y="385"/>
                </a:cubicBezTo>
                <a:cubicBezTo>
                  <a:pt x="50" y="433"/>
                  <a:pt x="50" y="433"/>
                  <a:pt x="50" y="433"/>
                </a:cubicBezTo>
                <a:cubicBezTo>
                  <a:pt x="103" y="416"/>
                  <a:pt x="103" y="416"/>
                  <a:pt x="103" y="416"/>
                </a:cubicBezTo>
                <a:cubicBezTo>
                  <a:pt x="110" y="425"/>
                  <a:pt x="114" y="431"/>
                  <a:pt x="128" y="442"/>
                </a:cubicBezTo>
                <a:cubicBezTo>
                  <a:pt x="128" y="442"/>
                  <a:pt x="128" y="442"/>
                  <a:pt x="128" y="442"/>
                </a:cubicBezTo>
                <a:cubicBezTo>
                  <a:pt x="108" y="491"/>
                  <a:pt x="108" y="491"/>
                  <a:pt x="108" y="491"/>
                </a:cubicBezTo>
                <a:cubicBezTo>
                  <a:pt x="155" y="520"/>
                  <a:pt x="155" y="520"/>
                  <a:pt x="155" y="520"/>
                </a:cubicBezTo>
                <a:cubicBezTo>
                  <a:pt x="192" y="480"/>
                  <a:pt x="192" y="480"/>
                  <a:pt x="192" y="480"/>
                </a:cubicBezTo>
                <a:cubicBezTo>
                  <a:pt x="207" y="485"/>
                  <a:pt x="222" y="490"/>
                  <a:pt x="237" y="492"/>
                </a:cubicBezTo>
                <a:cubicBezTo>
                  <a:pt x="237" y="494"/>
                  <a:pt x="237" y="494"/>
                  <a:pt x="237" y="494"/>
                </a:cubicBezTo>
                <a:cubicBezTo>
                  <a:pt x="247" y="547"/>
                  <a:pt x="247" y="547"/>
                  <a:pt x="247" y="547"/>
                </a:cubicBezTo>
                <a:cubicBezTo>
                  <a:pt x="302" y="546"/>
                  <a:pt x="302" y="546"/>
                  <a:pt x="302" y="546"/>
                </a:cubicBezTo>
                <a:cubicBezTo>
                  <a:pt x="312" y="492"/>
                  <a:pt x="312" y="492"/>
                  <a:pt x="312" y="492"/>
                </a:cubicBezTo>
                <a:cubicBezTo>
                  <a:pt x="330" y="489"/>
                  <a:pt x="347" y="484"/>
                  <a:pt x="364" y="476"/>
                </a:cubicBezTo>
                <a:cubicBezTo>
                  <a:pt x="364" y="477"/>
                  <a:pt x="364" y="477"/>
                  <a:pt x="364" y="477"/>
                </a:cubicBezTo>
                <a:cubicBezTo>
                  <a:pt x="402" y="516"/>
                  <a:pt x="402" y="516"/>
                  <a:pt x="402" y="516"/>
                </a:cubicBezTo>
                <a:cubicBezTo>
                  <a:pt x="448" y="486"/>
                  <a:pt x="448" y="486"/>
                  <a:pt x="448" y="486"/>
                </a:cubicBezTo>
                <a:cubicBezTo>
                  <a:pt x="426" y="434"/>
                  <a:pt x="426" y="434"/>
                  <a:pt x="426" y="434"/>
                </a:cubicBezTo>
                <a:cubicBezTo>
                  <a:pt x="426" y="434"/>
                  <a:pt x="426" y="434"/>
                  <a:pt x="426" y="434"/>
                </a:cubicBezTo>
                <a:cubicBezTo>
                  <a:pt x="435" y="426"/>
                  <a:pt x="443" y="417"/>
                  <a:pt x="450" y="408"/>
                </a:cubicBezTo>
                <a:cubicBezTo>
                  <a:pt x="451" y="408"/>
                  <a:pt x="451" y="408"/>
                  <a:pt x="451" y="408"/>
                </a:cubicBezTo>
                <a:cubicBezTo>
                  <a:pt x="503" y="425"/>
                  <a:pt x="503" y="425"/>
                  <a:pt x="503" y="425"/>
                </a:cubicBezTo>
                <a:cubicBezTo>
                  <a:pt x="528" y="376"/>
                  <a:pt x="528" y="376"/>
                  <a:pt x="528" y="376"/>
                </a:cubicBezTo>
                <a:cubicBezTo>
                  <a:pt x="485" y="341"/>
                  <a:pt x="485" y="341"/>
                  <a:pt x="485" y="341"/>
                </a:cubicBezTo>
                <a:cubicBezTo>
                  <a:pt x="484" y="341"/>
                  <a:pt x="484" y="341"/>
                  <a:pt x="484" y="341"/>
                </a:cubicBezTo>
                <a:cubicBezTo>
                  <a:pt x="488" y="329"/>
                  <a:pt x="491" y="318"/>
                  <a:pt x="493" y="306"/>
                </a:cubicBezTo>
                <a:cubicBezTo>
                  <a:pt x="494" y="306"/>
                  <a:pt x="494" y="306"/>
                  <a:pt x="494" y="306"/>
                </a:cubicBezTo>
                <a:cubicBezTo>
                  <a:pt x="547" y="296"/>
                  <a:pt x="547" y="296"/>
                  <a:pt x="547" y="296"/>
                </a:cubicBezTo>
                <a:cubicBezTo>
                  <a:pt x="546" y="240"/>
                  <a:pt x="546" y="240"/>
                  <a:pt x="546" y="240"/>
                </a:cubicBezTo>
                <a:cubicBezTo>
                  <a:pt x="491" y="231"/>
                  <a:pt x="491" y="231"/>
                  <a:pt x="491" y="231"/>
                </a:cubicBezTo>
                <a:cubicBezTo>
                  <a:pt x="491" y="231"/>
                  <a:pt x="491" y="231"/>
                  <a:pt x="491" y="231"/>
                </a:cubicBezTo>
                <a:cubicBezTo>
                  <a:pt x="488" y="219"/>
                  <a:pt x="485" y="208"/>
                  <a:pt x="481" y="197"/>
                </a:cubicBezTo>
                <a:cubicBezTo>
                  <a:pt x="483" y="196"/>
                  <a:pt x="483" y="196"/>
                  <a:pt x="483" y="196"/>
                </a:cubicBezTo>
                <a:cubicBezTo>
                  <a:pt x="524" y="161"/>
                  <a:pt x="524" y="161"/>
                  <a:pt x="524" y="161"/>
                </a:cubicBezTo>
                <a:cubicBezTo>
                  <a:pt x="497" y="113"/>
                  <a:pt x="497" y="113"/>
                  <a:pt x="497" y="113"/>
                </a:cubicBezTo>
                <a:cubicBezTo>
                  <a:pt x="444" y="131"/>
                  <a:pt x="444" y="131"/>
                  <a:pt x="444" y="131"/>
                </a:cubicBezTo>
                <a:cubicBezTo>
                  <a:pt x="440" y="130"/>
                  <a:pt x="440" y="130"/>
                  <a:pt x="440" y="130"/>
                </a:cubicBezTo>
                <a:cubicBezTo>
                  <a:pt x="433" y="121"/>
                  <a:pt x="426" y="113"/>
                  <a:pt x="412" y="102"/>
                </a:cubicBezTo>
                <a:cubicBezTo>
                  <a:pt x="413" y="101"/>
                  <a:pt x="413" y="101"/>
                  <a:pt x="413" y="101"/>
                </a:cubicBezTo>
                <a:cubicBezTo>
                  <a:pt x="436" y="60"/>
                  <a:pt x="436" y="60"/>
                  <a:pt x="436" y="60"/>
                </a:cubicBezTo>
                <a:cubicBezTo>
                  <a:pt x="389" y="32"/>
                  <a:pt x="389" y="32"/>
                  <a:pt x="389" y="32"/>
                </a:cubicBezTo>
                <a:cubicBezTo>
                  <a:pt x="353" y="70"/>
                  <a:pt x="353" y="70"/>
                  <a:pt x="353" y="70"/>
                </a:cubicBezTo>
                <a:cubicBezTo>
                  <a:pt x="353" y="69"/>
                  <a:pt x="353" y="69"/>
                  <a:pt x="353" y="69"/>
                </a:cubicBezTo>
                <a:cubicBezTo>
                  <a:pt x="339" y="63"/>
                  <a:pt x="324" y="58"/>
                  <a:pt x="309" y="56"/>
                </a:cubicBezTo>
                <a:cubicBezTo>
                  <a:pt x="310" y="53"/>
                  <a:pt x="310" y="53"/>
                  <a:pt x="310" y="53"/>
                </a:cubicBezTo>
                <a:cubicBezTo>
                  <a:pt x="300" y="0"/>
                  <a:pt x="300" y="0"/>
                  <a:pt x="300" y="0"/>
                </a:cubicBezTo>
                <a:cubicBezTo>
                  <a:pt x="245" y="0"/>
                  <a:pt x="245" y="0"/>
                  <a:pt x="245" y="0"/>
                </a:cubicBezTo>
                <a:cubicBezTo>
                  <a:pt x="234" y="55"/>
                  <a:pt x="234" y="55"/>
                  <a:pt x="234" y="55"/>
                </a:cubicBezTo>
                <a:cubicBezTo>
                  <a:pt x="235" y="55"/>
                  <a:pt x="235" y="55"/>
                  <a:pt x="235" y="55"/>
                </a:cubicBezTo>
                <a:cubicBezTo>
                  <a:pt x="217" y="58"/>
                  <a:pt x="200" y="64"/>
                  <a:pt x="183" y="71"/>
                </a:cubicBezTo>
                <a:cubicBezTo>
                  <a:pt x="182" y="69"/>
                  <a:pt x="182" y="69"/>
                  <a:pt x="182" y="69"/>
                </a:cubicBezTo>
                <a:cubicBezTo>
                  <a:pt x="145" y="30"/>
                  <a:pt x="145" y="30"/>
                  <a:pt x="145" y="30"/>
                </a:cubicBezTo>
                <a:cubicBezTo>
                  <a:pt x="99" y="61"/>
                  <a:pt x="99" y="61"/>
                  <a:pt x="99" y="61"/>
                </a:cubicBezTo>
                <a:cubicBezTo>
                  <a:pt x="121" y="112"/>
                  <a:pt x="121" y="112"/>
                  <a:pt x="121" y="112"/>
                </a:cubicBezTo>
                <a:lnTo>
                  <a:pt x="121" y="113"/>
                </a:lnTo>
                <a:close/>
                <a:moveTo>
                  <a:pt x="369" y="116"/>
                </a:moveTo>
                <a:cubicBezTo>
                  <a:pt x="455" y="169"/>
                  <a:pt x="483" y="282"/>
                  <a:pt x="430" y="369"/>
                </a:cubicBezTo>
                <a:cubicBezTo>
                  <a:pt x="378" y="456"/>
                  <a:pt x="264" y="484"/>
                  <a:pt x="177" y="431"/>
                </a:cubicBezTo>
                <a:cubicBezTo>
                  <a:pt x="91" y="378"/>
                  <a:pt x="63" y="265"/>
                  <a:pt x="116" y="178"/>
                </a:cubicBezTo>
                <a:cubicBezTo>
                  <a:pt x="168" y="91"/>
                  <a:pt x="282" y="64"/>
                  <a:pt x="369" y="11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0" name="任意多边形: 形状 29"/>
          <p:cNvSpPr/>
          <p:nvPr/>
        </p:nvSpPr>
        <p:spPr bwMode="auto">
          <a:xfrm>
            <a:off x="7084889" y="3455423"/>
            <a:ext cx="661830" cy="666970"/>
          </a:xfrm>
          <a:custGeom>
            <a:avLst/>
            <a:gdLst>
              <a:gd name="T0" fmla="*/ 28 w 218"/>
              <a:gd name="T1" fmla="*/ 60 h 219"/>
              <a:gd name="T2" fmla="*/ 60 w 218"/>
              <a:gd name="T3" fmla="*/ 191 h 219"/>
              <a:gd name="T4" fmla="*/ 191 w 218"/>
              <a:gd name="T5" fmla="*/ 159 h 219"/>
              <a:gd name="T6" fmla="*/ 159 w 218"/>
              <a:gd name="T7" fmla="*/ 28 h 219"/>
              <a:gd name="T8" fmla="*/ 28 w 218"/>
              <a:gd name="T9" fmla="*/ 60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" h="219">
                <a:moveTo>
                  <a:pt x="28" y="60"/>
                </a:moveTo>
                <a:cubicBezTo>
                  <a:pt x="0" y="105"/>
                  <a:pt x="15" y="164"/>
                  <a:pt x="60" y="191"/>
                </a:cubicBezTo>
                <a:cubicBezTo>
                  <a:pt x="105" y="219"/>
                  <a:pt x="164" y="204"/>
                  <a:pt x="191" y="159"/>
                </a:cubicBezTo>
                <a:cubicBezTo>
                  <a:pt x="218" y="114"/>
                  <a:pt x="204" y="55"/>
                  <a:pt x="159" y="28"/>
                </a:cubicBezTo>
                <a:cubicBezTo>
                  <a:pt x="114" y="0"/>
                  <a:pt x="55" y="15"/>
                  <a:pt x="28" y="60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1" name="任意多边形: 形状 30"/>
          <p:cNvSpPr/>
          <p:nvPr/>
        </p:nvSpPr>
        <p:spPr bwMode="auto">
          <a:xfrm>
            <a:off x="6922967" y="3294786"/>
            <a:ext cx="988247" cy="988247"/>
          </a:xfrm>
          <a:custGeom>
            <a:avLst/>
            <a:gdLst>
              <a:gd name="T0" fmla="*/ 57 w 325"/>
              <a:gd name="T1" fmla="*/ 82 h 325"/>
              <a:gd name="T2" fmla="*/ 26 w 325"/>
              <a:gd name="T3" fmla="*/ 72 h 325"/>
              <a:gd name="T4" fmla="*/ 37 w 325"/>
              <a:gd name="T5" fmla="*/ 122 h 325"/>
              <a:gd name="T6" fmla="*/ 31 w 325"/>
              <a:gd name="T7" fmla="*/ 143 h 325"/>
              <a:gd name="T8" fmla="*/ 0 w 325"/>
              <a:gd name="T9" fmla="*/ 182 h 325"/>
              <a:gd name="T10" fmla="*/ 38 w 325"/>
              <a:gd name="T11" fmla="*/ 208 h 325"/>
              <a:gd name="T12" fmla="*/ 13 w 325"/>
              <a:gd name="T13" fmla="*/ 229 h 325"/>
              <a:gd name="T14" fmla="*/ 61 w 325"/>
              <a:gd name="T15" fmla="*/ 247 h 325"/>
              <a:gd name="T16" fmla="*/ 76 w 325"/>
              <a:gd name="T17" fmla="*/ 263 h 325"/>
              <a:gd name="T18" fmla="*/ 92 w 325"/>
              <a:gd name="T19" fmla="*/ 309 h 325"/>
              <a:gd name="T20" fmla="*/ 141 w 325"/>
              <a:gd name="T21" fmla="*/ 292 h 325"/>
              <a:gd name="T22" fmla="*/ 147 w 325"/>
              <a:gd name="T23" fmla="*/ 325 h 325"/>
              <a:gd name="T24" fmla="*/ 186 w 325"/>
              <a:gd name="T25" fmla="*/ 292 h 325"/>
              <a:gd name="T26" fmla="*/ 217 w 325"/>
              <a:gd name="T27" fmla="*/ 283 h 325"/>
              <a:gd name="T28" fmla="*/ 266 w 325"/>
              <a:gd name="T29" fmla="*/ 288 h 325"/>
              <a:gd name="T30" fmla="*/ 253 w 325"/>
              <a:gd name="T31" fmla="*/ 258 h 325"/>
              <a:gd name="T32" fmla="*/ 268 w 325"/>
              <a:gd name="T33" fmla="*/ 242 h 325"/>
              <a:gd name="T34" fmla="*/ 314 w 325"/>
              <a:gd name="T35" fmla="*/ 223 h 325"/>
              <a:gd name="T36" fmla="*/ 288 w 325"/>
              <a:gd name="T37" fmla="*/ 202 h 325"/>
              <a:gd name="T38" fmla="*/ 294 w 325"/>
              <a:gd name="T39" fmla="*/ 182 h 325"/>
              <a:gd name="T40" fmla="*/ 325 w 325"/>
              <a:gd name="T41" fmla="*/ 143 h 325"/>
              <a:gd name="T42" fmla="*/ 292 w 325"/>
              <a:gd name="T43" fmla="*/ 137 h 325"/>
              <a:gd name="T44" fmla="*/ 287 w 325"/>
              <a:gd name="T45" fmla="*/ 116 h 325"/>
              <a:gd name="T46" fmla="*/ 295 w 325"/>
              <a:gd name="T47" fmla="*/ 67 h 325"/>
              <a:gd name="T48" fmla="*/ 262 w 325"/>
              <a:gd name="T49" fmla="*/ 77 h 325"/>
              <a:gd name="T50" fmla="*/ 246 w 325"/>
              <a:gd name="T51" fmla="*/ 59 h 325"/>
              <a:gd name="T52" fmla="*/ 231 w 325"/>
              <a:gd name="T53" fmla="*/ 18 h 325"/>
              <a:gd name="T54" fmla="*/ 210 w 325"/>
              <a:gd name="T55" fmla="*/ 41 h 325"/>
              <a:gd name="T56" fmla="*/ 184 w 325"/>
              <a:gd name="T57" fmla="*/ 31 h 325"/>
              <a:gd name="T58" fmla="*/ 146 w 325"/>
              <a:gd name="T59" fmla="*/ 0 h 325"/>
              <a:gd name="T60" fmla="*/ 139 w 325"/>
              <a:gd name="T61" fmla="*/ 33 h 325"/>
              <a:gd name="T62" fmla="*/ 108 w 325"/>
              <a:gd name="T63" fmla="*/ 41 h 325"/>
              <a:gd name="T64" fmla="*/ 59 w 325"/>
              <a:gd name="T65" fmla="*/ 36 h 325"/>
              <a:gd name="T66" fmla="*/ 72 w 325"/>
              <a:gd name="T67" fmla="*/ 67 h 325"/>
              <a:gd name="T68" fmla="*/ 256 w 325"/>
              <a:gd name="T69" fmla="*/ 219 h 325"/>
              <a:gd name="T70" fmla="*/ 69 w 325"/>
              <a:gd name="T71" fmla="*/ 106 h 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25" h="325">
                <a:moveTo>
                  <a:pt x="72" y="67"/>
                </a:moveTo>
                <a:cubicBezTo>
                  <a:pt x="67" y="71"/>
                  <a:pt x="62" y="77"/>
                  <a:pt x="57" y="82"/>
                </a:cubicBezTo>
                <a:cubicBezTo>
                  <a:pt x="57" y="82"/>
                  <a:pt x="57" y="82"/>
                  <a:pt x="57" y="82"/>
                </a:cubicBezTo>
                <a:cubicBezTo>
                  <a:pt x="26" y="72"/>
                  <a:pt x="26" y="72"/>
                  <a:pt x="26" y="72"/>
                </a:cubicBezTo>
                <a:cubicBezTo>
                  <a:pt x="11" y="101"/>
                  <a:pt x="11" y="101"/>
                  <a:pt x="11" y="101"/>
                </a:cubicBezTo>
                <a:cubicBezTo>
                  <a:pt x="37" y="122"/>
                  <a:pt x="37" y="122"/>
                  <a:pt x="37" y="122"/>
                </a:cubicBezTo>
                <a:cubicBezTo>
                  <a:pt x="35" y="129"/>
                  <a:pt x="33" y="136"/>
                  <a:pt x="32" y="143"/>
                </a:cubicBezTo>
                <a:cubicBezTo>
                  <a:pt x="31" y="143"/>
                  <a:pt x="31" y="143"/>
                  <a:pt x="31" y="143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182"/>
                  <a:pt x="0" y="182"/>
                  <a:pt x="0" y="182"/>
                </a:cubicBezTo>
                <a:cubicBezTo>
                  <a:pt x="33" y="187"/>
                  <a:pt x="33" y="187"/>
                  <a:pt x="33" y="187"/>
                </a:cubicBezTo>
                <a:cubicBezTo>
                  <a:pt x="34" y="194"/>
                  <a:pt x="36" y="201"/>
                  <a:pt x="38" y="208"/>
                </a:cubicBezTo>
                <a:cubicBezTo>
                  <a:pt x="38" y="208"/>
                  <a:pt x="38" y="208"/>
                  <a:pt x="38" y="208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30" y="257"/>
                  <a:pt x="30" y="257"/>
                  <a:pt x="30" y="257"/>
                </a:cubicBezTo>
                <a:cubicBezTo>
                  <a:pt x="61" y="247"/>
                  <a:pt x="61" y="247"/>
                  <a:pt x="61" y="247"/>
                </a:cubicBezTo>
                <a:cubicBezTo>
                  <a:pt x="66" y="252"/>
                  <a:pt x="68" y="256"/>
                  <a:pt x="76" y="262"/>
                </a:cubicBezTo>
                <a:cubicBezTo>
                  <a:pt x="76" y="263"/>
                  <a:pt x="76" y="263"/>
                  <a:pt x="76" y="263"/>
                </a:cubicBezTo>
                <a:cubicBezTo>
                  <a:pt x="64" y="292"/>
                  <a:pt x="64" y="292"/>
                  <a:pt x="64" y="292"/>
                </a:cubicBezTo>
                <a:cubicBezTo>
                  <a:pt x="92" y="309"/>
                  <a:pt x="92" y="309"/>
                  <a:pt x="92" y="309"/>
                </a:cubicBezTo>
                <a:cubicBezTo>
                  <a:pt x="114" y="285"/>
                  <a:pt x="114" y="285"/>
                  <a:pt x="114" y="285"/>
                </a:cubicBezTo>
                <a:cubicBezTo>
                  <a:pt x="123" y="288"/>
                  <a:pt x="132" y="291"/>
                  <a:pt x="141" y="292"/>
                </a:cubicBezTo>
                <a:cubicBezTo>
                  <a:pt x="141" y="293"/>
                  <a:pt x="141" y="293"/>
                  <a:pt x="141" y="293"/>
                </a:cubicBezTo>
                <a:cubicBezTo>
                  <a:pt x="147" y="325"/>
                  <a:pt x="147" y="325"/>
                  <a:pt x="147" y="325"/>
                </a:cubicBezTo>
                <a:cubicBezTo>
                  <a:pt x="179" y="324"/>
                  <a:pt x="179" y="324"/>
                  <a:pt x="179" y="324"/>
                </a:cubicBezTo>
                <a:cubicBezTo>
                  <a:pt x="186" y="292"/>
                  <a:pt x="186" y="292"/>
                  <a:pt x="186" y="292"/>
                </a:cubicBezTo>
                <a:cubicBezTo>
                  <a:pt x="196" y="290"/>
                  <a:pt x="206" y="287"/>
                  <a:pt x="216" y="283"/>
                </a:cubicBezTo>
                <a:cubicBezTo>
                  <a:pt x="217" y="283"/>
                  <a:pt x="217" y="283"/>
                  <a:pt x="217" y="283"/>
                </a:cubicBezTo>
                <a:cubicBezTo>
                  <a:pt x="239" y="307"/>
                  <a:pt x="239" y="307"/>
                  <a:pt x="239" y="307"/>
                </a:cubicBezTo>
                <a:cubicBezTo>
                  <a:pt x="266" y="288"/>
                  <a:pt x="266" y="288"/>
                  <a:pt x="266" y="288"/>
                </a:cubicBezTo>
                <a:cubicBezTo>
                  <a:pt x="253" y="258"/>
                  <a:pt x="253" y="258"/>
                  <a:pt x="253" y="258"/>
                </a:cubicBezTo>
                <a:cubicBezTo>
                  <a:pt x="253" y="258"/>
                  <a:pt x="253" y="258"/>
                  <a:pt x="253" y="258"/>
                </a:cubicBezTo>
                <a:cubicBezTo>
                  <a:pt x="258" y="253"/>
                  <a:pt x="263" y="248"/>
                  <a:pt x="268" y="242"/>
                </a:cubicBezTo>
                <a:cubicBezTo>
                  <a:pt x="268" y="242"/>
                  <a:pt x="268" y="242"/>
                  <a:pt x="268" y="242"/>
                </a:cubicBezTo>
                <a:cubicBezTo>
                  <a:pt x="299" y="252"/>
                  <a:pt x="299" y="252"/>
                  <a:pt x="299" y="252"/>
                </a:cubicBezTo>
                <a:cubicBezTo>
                  <a:pt x="314" y="223"/>
                  <a:pt x="314" y="223"/>
                  <a:pt x="314" y="223"/>
                </a:cubicBezTo>
                <a:cubicBezTo>
                  <a:pt x="288" y="202"/>
                  <a:pt x="288" y="202"/>
                  <a:pt x="288" y="202"/>
                </a:cubicBezTo>
                <a:cubicBezTo>
                  <a:pt x="288" y="202"/>
                  <a:pt x="288" y="202"/>
                  <a:pt x="288" y="202"/>
                </a:cubicBezTo>
                <a:cubicBezTo>
                  <a:pt x="290" y="195"/>
                  <a:pt x="292" y="189"/>
                  <a:pt x="293" y="182"/>
                </a:cubicBezTo>
                <a:cubicBezTo>
                  <a:pt x="294" y="182"/>
                  <a:pt x="294" y="182"/>
                  <a:pt x="294" y="182"/>
                </a:cubicBezTo>
                <a:cubicBezTo>
                  <a:pt x="325" y="175"/>
                  <a:pt x="325" y="175"/>
                  <a:pt x="325" y="175"/>
                </a:cubicBezTo>
                <a:cubicBezTo>
                  <a:pt x="325" y="143"/>
                  <a:pt x="325" y="143"/>
                  <a:pt x="325" y="143"/>
                </a:cubicBezTo>
                <a:cubicBezTo>
                  <a:pt x="292" y="137"/>
                  <a:pt x="292" y="137"/>
                  <a:pt x="292" y="137"/>
                </a:cubicBezTo>
                <a:cubicBezTo>
                  <a:pt x="292" y="137"/>
                  <a:pt x="292" y="137"/>
                  <a:pt x="292" y="137"/>
                </a:cubicBezTo>
                <a:cubicBezTo>
                  <a:pt x="290" y="130"/>
                  <a:pt x="288" y="123"/>
                  <a:pt x="286" y="117"/>
                </a:cubicBezTo>
                <a:cubicBezTo>
                  <a:pt x="287" y="116"/>
                  <a:pt x="287" y="116"/>
                  <a:pt x="287" y="116"/>
                </a:cubicBezTo>
                <a:cubicBezTo>
                  <a:pt x="312" y="96"/>
                  <a:pt x="312" y="96"/>
                  <a:pt x="312" y="96"/>
                </a:cubicBezTo>
                <a:cubicBezTo>
                  <a:pt x="295" y="67"/>
                  <a:pt x="295" y="67"/>
                  <a:pt x="295" y="67"/>
                </a:cubicBezTo>
                <a:cubicBezTo>
                  <a:pt x="264" y="78"/>
                  <a:pt x="264" y="78"/>
                  <a:pt x="264" y="78"/>
                </a:cubicBezTo>
                <a:cubicBezTo>
                  <a:pt x="262" y="77"/>
                  <a:pt x="262" y="77"/>
                  <a:pt x="262" y="77"/>
                </a:cubicBezTo>
                <a:cubicBezTo>
                  <a:pt x="257" y="71"/>
                  <a:pt x="253" y="67"/>
                  <a:pt x="245" y="61"/>
                </a:cubicBezTo>
                <a:cubicBezTo>
                  <a:pt x="246" y="59"/>
                  <a:pt x="246" y="59"/>
                  <a:pt x="246" y="59"/>
                </a:cubicBezTo>
                <a:cubicBezTo>
                  <a:pt x="259" y="36"/>
                  <a:pt x="259" y="36"/>
                  <a:pt x="259" y="36"/>
                </a:cubicBezTo>
                <a:cubicBezTo>
                  <a:pt x="231" y="18"/>
                  <a:pt x="231" y="18"/>
                  <a:pt x="231" y="18"/>
                </a:cubicBezTo>
                <a:cubicBezTo>
                  <a:pt x="210" y="41"/>
                  <a:pt x="210" y="41"/>
                  <a:pt x="210" y="41"/>
                </a:cubicBezTo>
                <a:cubicBezTo>
                  <a:pt x="210" y="41"/>
                  <a:pt x="210" y="41"/>
                  <a:pt x="210" y="41"/>
                </a:cubicBezTo>
                <a:cubicBezTo>
                  <a:pt x="201" y="37"/>
                  <a:pt x="193" y="34"/>
                  <a:pt x="184" y="33"/>
                </a:cubicBezTo>
                <a:cubicBezTo>
                  <a:pt x="184" y="31"/>
                  <a:pt x="184" y="31"/>
                  <a:pt x="184" y="31"/>
                </a:cubicBezTo>
                <a:cubicBezTo>
                  <a:pt x="178" y="0"/>
                  <a:pt x="178" y="0"/>
                  <a:pt x="178" y="0"/>
                </a:cubicBezTo>
                <a:cubicBezTo>
                  <a:pt x="146" y="0"/>
                  <a:pt x="146" y="0"/>
                  <a:pt x="146" y="0"/>
                </a:cubicBezTo>
                <a:cubicBezTo>
                  <a:pt x="139" y="32"/>
                  <a:pt x="139" y="32"/>
                  <a:pt x="139" y="32"/>
                </a:cubicBezTo>
                <a:cubicBezTo>
                  <a:pt x="139" y="33"/>
                  <a:pt x="139" y="33"/>
                  <a:pt x="139" y="33"/>
                </a:cubicBezTo>
                <a:cubicBezTo>
                  <a:pt x="129" y="34"/>
                  <a:pt x="119" y="37"/>
                  <a:pt x="109" y="42"/>
                </a:cubicBezTo>
                <a:cubicBezTo>
                  <a:pt x="108" y="41"/>
                  <a:pt x="108" y="41"/>
                  <a:pt x="108" y="41"/>
                </a:cubicBezTo>
                <a:cubicBezTo>
                  <a:pt x="86" y="18"/>
                  <a:pt x="86" y="18"/>
                  <a:pt x="86" y="18"/>
                </a:cubicBezTo>
                <a:cubicBezTo>
                  <a:pt x="59" y="36"/>
                  <a:pt x="59" y="36"/>
                  <a:pt x="59" y="36"/>
                </a:cubicBezTo>
                <a:cubicBezTo>
                  <a:pt x="72" y="66"/>
                  <a:pt x="72" y="66"/>
                  <a:pt x="72" y="66"/>
                </a:cubicBezTo>
                <a:lnTo>
                  <a:pt x="72" y="67"/>
                </a:lnTo>
                <a:close/>
                <a:moveTo>
                  <a:pt x="219" y="69"/>
                </a:moveTo>
                <a:cubicBezTo>
                  <a:pt x="271" y="100"/>
                  <a:pt x="287" y="167"/>
                  <a:pt x="256" y="219"/>
                </a:cubicBezTo>
                <a:cubicBezTo>
                  <a:pt x="224" y="271"/>
                  <a:pt x="157" y="287"/>
                  <a:pt x="106" y="256"/>
                </a:cubicBezTo>
                <a:cubicBezTo>
                  <a:pt x="54" y="225"/>
                  <a:pt x="37" y="157"/>
                  <a:pt x="69" y="106"/>
                </a:cubicBezTo>
                <a:cubicBezTo>
                  <a:pt x="100" y="54"/>
                  <a:pt x="167" y="38"/>
                  <a:pt x="219" y="6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2" name="任意多边形: 形状 31"/>
          <p:cNvSpPr/>
          <p:nvPr/>
        </p:nvSpPr>
        <p:spPr bwMode="auto">
          <a:xfrm>
            <a:off x="4533953" y="3179125"/>
            <a:ext cx="379106" cy="334127"/>
          </a:xfrm>
          <a:custGeom>
            <a:avLst/>
            <a:gdLst>
              <a:gd name="T0" fmla="*/ 113 w 125"/>
              <a:gd name="T1" fmla="*/ 62 h 110"/>
              <a:gd name="T2" fmla="*/ 117 w 125"/>
              <a:gd name="T3" fmla="*/ 97 h 110"/>
              <a:gd name="T4" fmla="*/ 82 w 125"/>
              <a:gd name="T5" fmla="*/ 102 h 110"/>
              <a:gd name="T6" fmla="*/ 13 w 125"/>
              <a:gd name="T7" fmla="*/ 49 h 110"/>
              <a:gd name="T8" fmla="*/ 9 w 125"/>
              <a:gd name="T9" fmla="*/ 14 h 110"/>
              <a:gd name="T10" fmla="*/ 44 w 125"/>
              <a:gd name="T11" fmla="*/ 9 h 110"/>
              <a:gd name="T12" fmla="*/ 113 w 125"/>
              <a:gd name="T13" fmla="*/ 62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5" h="110">
                <a:moveTo>
                  <a:pt x="113" y="62"/>
                </a:moveTo>
                <a:cubicBezTo>
                  <a:pt x="124" y="70"/>
                  <a:pt x="125" y="86"/>
                  <a:pt x="117" y="97"/>
                </a:cubicBezTo>
                <a:cubicBezTo>
                  <a:pt x="109" y="108"/>
                  <a:pt x="93" y="110"/>
                  <a:pt x="82" y="102"/>
                </a:cubicBezTo>
                <a:cubicBezTo>
                  <a:pt x="13" y="49"/>
                  <a:pt x="13" y="49"/>
                  <a:pt x="13" y="49"/>
                </a:cubicBezTo>
                <a:cubicBezTo>
                  <a:pt x="2" y="41"/>
                  <a:pt x="0" y="25"/>
                  <a:pt x="9" y="14"/>
                </a:cubicBezTo>
                <a:cubicBezTo>
                  <a:pt x="17" y="3"/>
                  <a:pt x="33" y="0"/>
                  <a:pt x="44" y="9"/>
                </a:cubicBezTo>
                <a:lnTo>
                  <a:pt x="113" y="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2500" lnSpcReduction="1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3" name="任意多边形: 形状 32"/>
          <p:cNvSpPr/>
          <p:nvPr/>
        </p:nvSpPr>
        <p:spPr bwMode="auto">
          <a:xfrm>
            <a:off x="4280787" y="3915490"/>
            <a:ext cx="426656" cy="218468"/>
          </a:xfrm>
          <a:custGeom>
            <a:avLst/>
            <a:gdLst>
              <a:gd name="T0" fmla="*/ 117 w 140"/>
              <a:gd name="T1" fmla="*/ 20 h 72"/>
              <a:gd name="T2" fmla="*/ 137 w 140"/>
              <a:gd name="T3" fmla="*/ 49 h 72"/>
              <a:gd name="T4" fmla="*/ 108 w 140"/>
              <a:gd name="T5" fmla="*/ 69 h 72"/>
              <a:gd name="T6" fmla="*/ 22 w 140"/>
              <a:gd name="T7" fmla="*/ 52 h 72"/>
              <a:gd name="T8" fmla="*/ 3 w 140"/>
              <a:gd name="T9" fmla="*/ 23 h 72"/>
              <a:gd name="T10" fmla="*/ 32 w 140"/>
              <a:gd name="T11" fmla="*/ 3 h 72"/>
              <a:gd name="T12" fmla="*/ 117 w 140"/>
              <a:gd name="T13" fmla="*/ 20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0" h="72">
                <a:moveTo>
                  <a:pt x="117" y="20"/>
                </a:moveTo>
                <a:cubicBezTo>
                  <a:pt x="131" y="22"/>
                  <a:pt x="140" y="36"/>
                  <a:pt x="137" y="49"/>
                </a:cubicBezTo>
                <a:cubicBezTo>
                  <a:pt x="134" y="63"/>
                  <a:pt x="121" y="72"/>
                  <a:pt x="108" y="69"/>
                </a:cubicBezTo>
                <a:cubicBezTo>
                  <a:pt x="22" y="52"/>
                  <a:pt x="22" y="52"/>
                  <a:pt x="22" y="52"/>
                </a:cubicBezTo>
                <a:cubicBezTo>
                  <a:pt x="9" y="50"/>
                  <a:pt x="0" y="37"/>
                  <a:pt x="3" y="23"/>
                </a:cubicBezTo>
                <a:cubicBezTo>
                  <a:pt x="6" y="9"/>
                  <a:pt x="19" y="0"/>
                  <a:pt x="32" y="3"/>
                </a:cubicBezTo>
                <a:lnTo>
                  <a:pt x="117" y="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550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34" name="任意多边形: 形状 33"/>
          <p:cNvSpPr/>
          <p:nvPr/>
        </p:nvSpPr>
        <p:spPr bwMode="auto">
          <a:xfrm>
            <a:off x="4467128" y="4621014"/>
            <a:ext cx="422800" cy="240315"/>
          </a:xfrm>
          <a:custGeom>
            <a:avLst/>
            <a:gdLst>
              <a:gd name="T0" fmla="*/ 105 w 139"/>
              <a:gd name="T1" fmla="*/ 4 h 79"/>
              <a:gd name="T2" fmla="*/ 136 w 139"/>
              <a:gd name="T3" fmla="*/ 22 h 79"/>
              <a:gd name="T4" fmla="*/ 118 w 139"/>
              <a:gd name="T5" fmla="*/ 52 h 79"/>
              <a:gd name="T6" fmla="*/ 34 w 139"/>
              <a:gd name="T7" fmla="*/ 75 h 79"/>
              <a:gd name="T8" fmla="*/ 4 w 139"/>
              <a:gd name="T9" fmla="*/ 57 h 79"/>
              <a:gd name="T10" fmla="*/ 21 w 139"/>
              <a:gd name="T11" fmla="*/ 26 h 79"/>
              <a:gd name="T12" fmla="*/ 105 w 139"/>
              <a:gd name="T13" fmla="*/ 4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9" h="79">
                <a:moveTo>
                  <a:pt x="105" y="4"/>
                </a:moveTo>
                <a:cubicBezTo>
                  <a:pt x="118" y="0"/>
                  <a:pt x="132" y="8"/>
                  <a:pt x="136" y="22"/>
                </a:cubicBezTo>
                <a:cubicBezTo>
                  <a:pt x="139" y="35"/>
                  <a:pt x="131" y="49"/>
                  <a:pt x="118" y="52"/>
                </a:cubicBezTo>
                <a:cubicBezTo>
                  <a:pt x="34" y="75"/>
                  <a:pt x="34" y="75"/>
                  <a:pt x="34" y="75"/>
                </a:cubicBezTo>
                <a:cubicBezTo>
                  <a:pt x="21" y="79"/>
                  <a:pt x="7" y="71"/>
                  <a:pt x="4" y="57"/>
                </a:cubicBezTo>
                <a:cubicBezTo>
                  <a:pt x="0" y="44"/>
                  <a:pt x="8" y="30"/>
                  <a:pt x="21" y="26"/>
                </a:cubicBezTo>
                <a:lnTo>
                  <a:pt x="105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62500" lnSpcReduction="20000"/>
          </a:bodyPr>
          <a:lstStyle/>
          <a:p>
            <a:endParaRPr lang="en-US"/>
          </a:p>
        </p:txBody>
      </p:sp>
      <p:sp>
        <p:nvSpPr>
          <p:cNvPr id="35" name="任意多边形: 形状 34"/>
          <p:cNvSpPr/>
          <p:nvPr/>
        </p:nvSpPr>
        <p:spPr bwMode="auto">
          <a:xfrm>
            <a:off x="7254524" y="4621014"/>
            <a:ext cx="425371" cy="240315"/>
          </a:xfrm>
          <a:custGeom>
            <a:avLst/>
            <a:gdLst>
              <a:gd name="T0" fmla="*/ 35 w 140"/>
              <a:gd name="T1" fmla="*/ 4 h 79"/>
              <a:gd name="T2" fmla="*/ 4 w 140"/>
              <a:gd name="T3" fmla="*/ 22 h 79"/>
              <a:gd name="T4" fmla="*/ 21 w 140"/>
              <a:gd name="T5" fmla="*/ 52 h 79"/>
              <a:gd name="T6" fmla="*/ 105 w 140"/>
              <a:gd name="T7" fmla="*/ 75 h 79"/>
              <a:gd name="T8" fmla="*/ 136 w 140"/>
              <a:gd name="T9" fmla="*/ 57 h 79"/>
              <a:gd name="T10" fmla="*/ 119 w 140"/>
              <a:gd name="T11" fmla="*/ 26 h 79"/>
              <a:gd name="T12" fmla="*/ 35 w 140"/>
              <a:gd name="T13" fmla="*/ 4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0" h="79">
                <a:moveTo>
                  <a:pt x="35" y="4"/>
                </a:moveTo>
                <a:cubicBezTo>
                  <a:pt x="21" y="0"/>
                  <a:pt x="8" y="8"/>
                  <a:pt x="4" y="22"/>
                </a:cubicBezTo>
                <a:cubicBezTo>
                  <a:pt x="0" y="35"/>
                  <a:pt x="8" y="49"/>
                  <a:pt x="21" y="52"/>
                </a:cubicBezTo>
                <a:cubicBezTo>
                  <a:pt x="105" y="75"/>
                  <a:pt x="105" y="75"/>
                  <a:pt x="105" y="75"/>
                </a:cubicBezTo>
                <a:cubicBezTo>
                  <a:pt x="119" y="79"/>
                  <a:pt x="132" y="71"/>
                  <a:pt x="136" y="57"/>
                </a:cubicBezTo>
                <a:cubicBezTo>
                  <a:pt x="140" y="44"/>
                  <a:pt x="132" y="30"/>
                  <a:pt x="119" y="26"/>
                </a:cubicBezTo>
                <a:lnTo>
                  <a:pt x="35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625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6" name="任意多边形: 形状 35"/>
          <p:cNvSpPr/>
          <p:nvPr/>
        </p:nvSpPr>
        <p:spPr bwMode="auto">
          <a:xfrm>
            <a:off x="4850090" y="2936239"/>
            <a:ext cx="2335039" cy="2748843"/>
          </a:xfrm>
          <a:custGeom>
            <a:avLst/>
            <a:gdLst>
              <a:gd name="T0" fmla="*/ 702 w 768"/>
              <a:gd name="T1" fmla="*/ 412 h 904"/>
              <a:gd name="T2" fmla="*/ 611 w 768"/>
              <a:gd name="T3" fmla="*/ 601 h 904"/>
              <a:gd name="T4" fmla="*/ 611 w 768"/>
              <a:gd name="T5" fmla="*/ 602 h 904"/>
              <a:gd name="T6" fmla="*/ 609 w 768"/>
              <a:gd name="T7" fmla="*/ 604 h 904"/>
              <a:gd name="T8" fmla="*/ 606 w 768"/>
              <a:gd name="T9" fmla="*/ 606 h 904"/>
              <a:gd name="T10" fmla="*/ 606 w 768"/>
              <a:gd name="T11" fmla="*/ 607 h 904"/>
              <a:gd name="T12" fmla="*/ 536 w 768"/>
              <a:gd name="T13" fmla="*/ 735 h 904"/>
              <a:gd name="T14" fmla="*/ 523 w 768"/>
              <a:gd name="T15" fmla="*/ 827 h 904"/>
              <a:gd name="T16" fmla="*/ 523 w 768"/>
              <a:gd name="T17" fmla="*/ 833 h 904"/>
              <a:gd name="T18" fmla="*/ 521 w 768"/>
              <a:gd name="T19" fmla="*/ 837 h 904"/>
              <a:gd name="T20" fmla="*/ 504 w 768"/>
              <a:gd name="T21" fmla="*/ 844 h 904"/>
              <a:gd name="T22" fmla="*/ 274 w 768"/>
              <a:gd name="T23" fmla="*/ 844 h 904"/>
              <a:gd name="T24" fmla="*/ 257 w 768"/>
              <a:gd name="T25" fmla="*/ 837 h 904"/>
              <a:gd name="T26" fmla="*/ 255 w 768"/>
              <a:gd name="T27" fmla="*/ 832 h 904"/>
              <a:gd name="T28" fmla="*/ 256 w 768"/>
              <a:gd name="T29" fmla="*/ 827 h 904"/>
              <a:gd name="T30" fmla="*/ 243 w 768"/>
              <a:gd name="T31" fmla="*/ 737 h 904"/>
              <a:gd name="T32" fmla="*/ 185 w 768"/>
              <a:gd name="T33" fmla="*/ 622 h 904"/>
              <a:gd name="T34" fmla="*/ 170 w 768"/>
              <a:gd name="T35" fmla="*/ 604 h 904"/>
              <a:gd name="T36" fmla="*/ 136 w 768"/>
              <a:gd name="T37" fmla="*/ 571 h 904"/>
              <a:gd name="T38" fmla="*/ 109 w 768"/>
              <a:gd name="T39" fmla="*/ 530 h 904"/>
              <a:gd name="T40" fmla="*/ 75 w 768"/>
              <a:gd name="T41" fmla="*/ 436 h 904"/>
              <a:gd name="T42" fmla="*/ 70 w 768"/>
              <a:gd name="T43" fmla="*/ 378 h 904"/>
              <a:gd name="T44" fmla="*/ 342 w 768"/>
              <a:gd name="T45" fmla="*/ 65 h 904"/>
              <a:gd name="T46" fmla="*/ 305 w 768"/>
              <a:gd name="T47" fmla="*/ 0 h 904"/>
              <a:gd name="T48" fmla="*/ 0 w 768"/>
              <a:gd name="T49" fmla="*/ 378 h 904"/>
              <a:gd name="T50" fmla="*/ 132 w 768"/>
              <a:gd name="T51" fmla="*/ 669 h 904"/>
              <a:gd name="T52" fmla="*/ 186 w 768"/>
              <a:gd name="T53" fmla="*/ 825 h 904"/>
              <a:gd name="T54" fmla="*/ 204 w 768"/>
              <a:gd name="T55" fmla="*/ 883 h 904"/>
              <a:gd name="T56" fmla="*/ 226 w 768"/>
              <a:gd name="T57" fmla="*/ 902 h 904"/>
              <a:gd name="T58" fmla="*/ 380 w 768"/>
              <a:gd name="T59" fmla="*/ 903 h 904"/>
              <a:gd name="T60" fmla="*/ 547 w 768"/>
              <a:gd name="T61" fmla="*/ 904 h 904"/>
              <a:gd name="T62" fmla="*/ 575 w 768"/>
              <a:gd name="T63" fmla="*/ 883 h 904"/>
              <a:gd name="T64" fmla="*/ 593 w 768"/>
              <a:gd name="T65" fmla="*/ 825 h 904"/>
              <a:gd name="T66" fmla="*/ 658 w 768"/>
              <a:gd name="T67" fmla="*/ 654 h 904"/>
              <a:gd name="T68" fmla="*/ 662 w 768"/>
              <a:gd name="T69" fmla="*/ 650 h 904"/>
              <a:gd name="T70" fmla="*/ 768 w 768"/>
              <a:gd name="T71" fmla="*/ 442 h 904"/>
              <a:gd name="T72" fmla="*/ 702 w 768"/>
              <a:gd name="T73" fmla="*/ 412 h 9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768" h="904">
                <a:moveTo>
                  <a:pt x="702" y="412"/>
                </a:moveTo>
                <a:cubicBezTo>
                  <a:pt x="694" y="485"/>
                  <a:pt x="661" y="552"/>
                  <a:pt x="611" y="601"/>
                </a:cubicBezTo>
                <a:cubicBezTo>
                  <a:pt x="611" y="602"/>
                  <a:pt x="611" y="602"/>
                  <a:pt x="611" y="602"/>
                </a:cubicBezTo>
                <a:cubicBezTo>
                  <a:pt x="610" y="603"/>
                  <a:pt x="609" y="603"/>
                  <a:pt x="609" y="604"/>
                </a:cubicBezTo>
                <a:cubicBezTo>
                  <a:pt x="609" y="604"/>
                  <a:pt x="608" y="605"/>
                  <a:pt x="606" y="606"/>
                </a:cubicBezTo>
                <a:cubicBezTo>
                  <a:pt x="606" y="607"/>
                  <a:pt x="606" y="607"/>
                  <a:pt x="606" y="607"/>
                </a:cubicBezTo>
                <a:cubicBezTo>
                  <a:pt x="595" y="619"/>
                  <a:pt x="556" y="665"/>
                  <a:pt x="536" y="735"/>
                </a:cubicBezTo>
                <a:cubicBezTo>
                  <a:pt x="528" y="762"/>
                  <a:pt x="523" y="793"/>
                  <a:pt x="523" y="827"/>
                </a:cubicBezTo>
                <a:cubicBezTo>
                  <a:pt x="523" y="829"/>
                  <a:pt x="523" y="831"/>
                  <a:pt x="523" y="833"/>
                </a:cubicBezTo>
                <a:cubicBezTo>
                  <a:pt x="523" y="833"/>
                  <a:pt x="522" y="835"/>
                  <a:pt x="521" y="837"/>
                </a:cubicBezTo>
                <a:cubicBezTo>
                  <a:pt x="519" y="839"/>
                  <a:pt x="514" y="842"/>
                  <a:pt x="504" y="844"/>
                </a:cubicBezTo>
                <a:cubicBezTo>
                  <a:pt x="274" y="844"/>
                  <a:pt x="274" y="844"/>
                  <a:pt x="274" y="844"/>
                </a:cubicBezTo>
                <a:cubicBezTo>
                  <a:pt x="265" y="842"/>
                  <a:pt x="260" y="840"/>
                  <a:pt x="257" y="837"/>
                </a:cubicBezTo>
                <a:cubicBezTo>
                  <a:pt x="256" y="836"/>
                  <a:pt x="255" y="833"/>
                  <a:pt x="255" y="832"/>
                </a:cubicBezTo>
                <a:cubicBezTo>
                  <a:pt x="256" y="830"/>
                  <a:pt x="256" y="830"/>
                  <a:pt x="256" y="827"/>
                </a:cubicBezTo>
                <a:cubicBezTo>
                  <a:pt x="256" y="794"/>
                  <a:pt x="251" y="764"/>
                  <a:pt x="243" y="737"/>
                </a:cubicBezTo>
                <a:cubicBezTo>
                  <a:pt x="227" y="683"/>
                  <a:pt x="201" y="643"/>
                  <a:pt x="185" y="622"/>
                </a:cubicBezTo>
                <a:cubicBezTo>
                  <a:pt x="180" y="616"/>
                  <a:pt x="175" y="610"/>
                  <a:pt x="170" y="604"/>
                </a:cubicBezTo>
                <a:cubicBezTo>
                  <a:pt x="159" y="593"/>
                  <a:pt x="146" y="583"/>
                  <a:pt x="136" y="571"/>
                </a:cubicBezTo>
                <a:cubicBezTo>
                  <a:pt x="125" y="558"/>
                  <a:pt x="116" y="544"/>
                  <a:pt x="109" y="530"/>
                </a:cubicBezTo>
                <a:cubicBezTo>
                  <a:pt x="94" y="501"/>
                  <a:pt x="81" y="469"/>
                  <a:pt x="75" y="436"/>
                </a:cubicBezTo>
                <a:cubicBezTo>
                  <a:pt x="72" y="417"/>
                  <a:pt x="70" y="397"/>
                  <a:pt x="70" y="378"/>
                </a:cubicBezTo>
                <a:cubicBezTo>
                  <a:pt x="70" y="219"/>
                  <a:pt x="189" y="87"/>
                  <a:pt x="342" y="65"/>
                </a:cubicBezTo>
                <a:cubicBezTo>
                  <a:pt x="305" y="0"/>
                  <a:pt x="305" y="0"/>
                  <a:pt x="305" y="0"/>
                </a:cubicBezTo>
                <a:cubicBezTo>
                  <a:pt x="131" y="38"/>
                  <a:pt x="0" y="193"/>
                  <a:pt x="0" y="378"/>
                </a:cubicBezTo>
                <a:cubicBezTo>
                  <a:pt x="0" y="494"/>
                  <a:pt x="51" y="598"/>
                  <a:pt x="132" y="669"/>
                </a:cubicBezTo>
                <a:cubicBezTo>
                  <a:pt x="151" y="694"/>
                  <a:pt x="185" y="750"/>
                  <a:pt x="186" y="825"/>
                </a:cubicBezTo>
                <a:cubicBezTo>
                  <a:pt x="184" y="841"/>
                  <a:pt x="188" y="864"/>
                  <a:pt x="204" y="883"/>
                </a:cubicBezTo>
                <a:cubicBezTo>
                  <a:pt x="210" y="890"/>
                  <a:pt x="218" y="897"/>
                  <a:pt x="226" y="902"/>
                </a:cubicBezTo>
                <a:cubicBezTo>
                  <a:pt x="380" y="903"/>
                  <a:pt x="380" y="903"/>
                  <a:pt x="380" y="903"/>
                </a:cubicBezTo>
                <a:cubicBezTo>
                  <a:pt x="547" y="904"/>
                  <a:pt x="547" y="904"/>
                  <a:pt x="547" y="904"/>
                </a:cubicBezTo>
                <a:cubicBezTo>
                  <a:pt x="558" y="899"/>
                  <a:pt x="567" y="892"/>
                  <a:pt x="575" y="883"/>
                </a:cubicBezTo>
                <a:cubicBezTo>
                  <a:pt x="590" y="864"/>
                  <a:pt x="594" y="841"/>
                  <a:pt x="593" y="825"/>
                </a:cubicBezTo>
                <a:cubicBezTo>
                  <a:pt x="594" y="723"/>
                  <a:pt x="657" y="655"/>
                  <a:pt x="658" y="654"/>
                </a:cubicBezTo>
                <a:cubicBezTo>
                  <a:pt x="660" y="653"/>
                  <a:pt x="661" y="652"/>
                  <a:pt x="662" y="650"/>
                </a:cubicBezTo>
                <a:cubicBezTo>
                  <a:pt x="717" y="595"/>
                  <a:pt x="755" y="522"/>
                  <a:pt x="768" y="442"/>
                </a:cubicBezTo>
                <a:cubicBezTo>
                  <a:pt x="750" y="433"/>
                  <a:pt x="720" y="420"/>
                  <a:pt x="702" y="4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7" name="任意多边形: 形状 36"/>
          <p:cNvSpPr/>
          <p:nvPr/>
        </p:nvSpPr>
        <p:spPr bwMode="auto">
          <a:xfrm>
            <a:off x="6427203" y="2290340"/>
            <a:ext cx="512182" cy="470614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608909" h="559493">
                <a:moveTo>
                  <a:pt x="470180" y="272856"/>
                </a:moveTo>
                <a:lnTo>
                  <a:pt x="476019" y="272856"/>
                </a:lnTo>
                <a:lnTo>
                  <a:pt x="481953" y="272856"/>
                </a:lnTo>
                <a:cubicBezTo>
                  <a:pt x="509171" y="272856"/>
                  <a:pt x="531210" y="294963"/>
                  <a:pt x="531210" y="322056"/>
                </a:cubicBezTo>
                <a:lnTo>
                  <a:pt x="531210" y="376617"/>
                </a:lnTo>
                <a:cubicBezTo>
                  <a:pt x="531210" y="385084"/>
                  <a:pt x="526783" y="392609"/>
                  <a:pt x="520096" y="397031"/>
                </a:cubicBezTo>
                <a:lnTo>
                  <a:pt x="520096" y="449711"/>
                </a:lnTo>
                <a:cubicBezTo>
                  <a:pt x="520096" y="450558"/>
                  <a:pt x="520661" y="451498"/>
                  <a:pt x="521509" y="451875"/>
                </a:cubicBezTo>
                <a:cubicBezTo>
                  <a:pt x="528949" y="455450"/>
                  <a:pt x="565492" y="473888"/>
                  <a:pt x="599209" y="501639"/>
                </a:cubicBezTo>
                <a:cubicBezTo>
                  <a:pt x="605425" y="506625"/>
                  <a:pt x="608909" y="514150"/>
                  <a:pt x="608909" y="522052"/>
                </a:cubicBezTo>
                <a:lnTo>
                  <a:pt x="608909" y="559493"/>
                </a:lnTo>
                <a:lnTo>
                  <a:pt x="483083" y="559493"/>
                </a:lnTo>
                <a:lnTo>
                  <a:pt x="483083" y="515561"/>
                </a:lnTo>
                <a:cubicBezTo>
                  <a:pt x="483083" y="499475"/>
                  <a:pt x="476019" y="484424"/>
                  <a:pt x="463587" y="474264"/>
                </a:cubicBezTo>
                <a:cubicBezTo>
                  <a:pt x="453039" y="465609"/>
                  <a:pt x="442302" y="457707"/>
                  <a:pt x="431848" y="450558"/>
                </a:cubicBezTo>
                <a:cubicBezTo>
                  <a:pt x="431848" y="450370"/>
                  <a:pt x="431942" y="450087"/>
                  <a:pt x="431942" y="449711"/>
                </a:cubicBezTo>
                <a:lnTo>
                  <a:pt x="431942" y="397031"/>
                </a:lnTo>
                <a:cubicBezTo>
                  <a:pt x="425350" y="392609"/>
                  <a:pt x="420923" y="385084"/>
                  <a:pt x="420923" y="376617"/>
                </a:cubicBezTo>
                <a:lnTo>
                  <a:pt x="420923" y="322056"/>
                </a:lnTo>
                <a:cubicBezTo>
                  <a:pt x="420923" y="294775"/>
                  <a:pt x="443056" y="272856"/>
                  <a:pt x="470180" y="272856"/>
                </a:cubicBezTo>
                <a:close/>
                <a:moveTo>
                  <a:pt x="127004" y="272856"/>
                </a:moveTo>
                <a:lnTo>
                  <a:pt x="132940" y="272856"/>
                </a:lnTo>
                <a:lnTo>
                  <a:pt x="138781" y="272856"/>
                </a:lnTo>
                <a:cubicBezTo>
                  <a:pt x="166104" y="272856"/>
                  <a:pt x="188057" y="294963"/>
                  <a:pt x="188057" y="322056"/>
                </a:cubicBezTo>
                <a:lnTo>
                  <a:pt x="188057" y="376617"/>
                </a:lnTo>
                <a:cubicBezTo>
                  <a:pt x="188057" y="385084"/>
                  <a:pt x="183629" y="392609"/>
                  <a:pt x="177033" y="397031"/>
                </a:cubicBezTo>
                <a:lnTo>
                  <a:pt x="177033" y="449711"/>
                </a:lnTo>
                <a:cubicBezTo>
                  <a:pt x="177033" y="449993"/>
                  <a:pt x="177128" y="450370"/>
                  <a:pt x="177128" y="450558"/>
                </a:cubicBezTo>
                <a:cubicBezTo>
                  <a:pt x="166670" y="457613"/>
                  <a:pt x="155929" y="465609"/>
                  <a:pt x="145376" y="474264"/>
                </a:cubicBezTo>
                <a:cubicBezTo>
                  <a:pt x="133034" y="484424"/>
                  <a:pt x="125874" y="499475"/>
                  <a:pt x="125874" y="515561"/>
                </a:cubicBezTo>
                <a:lnTo>
                  <a:pt x="125874" y="559493"/>
                </a:lnTo>
                <a:lnTo>
                  <a:pt x="0" y="559493"/>
                </a:lnTo>
                <a:lnTo>
                  <a:pt x="0" y="522052"/>
                </a:lnTo>
                <a:cubicBezTo>
                  <a:pt x="0" y="514150"/>
                  <a:pt x="3486" y="506625"/>
                  <a:pt x="9704" y="501639"/>
                </a:cubicBezTo>
                <a:cubicBezTo>
                  <a:pt x="43434" y="473888"/>
                  <a:pt x="79990" y="455450"/>
                  <a:pt x="87433" y="451875"/>
                </a:cubicBezTo>
                <a:cubicBezTo>
                  <a:pt x="88281" y="451498"/>
                  <a:pt x="88846" y="450558"/>
                  <a:pt x="88846" y="449711"/>
                </a:cubicBezTo>
                <a:lnTo>
                  <a:pt x="88846" y="397031"/>
                </a:lnTo>
                <a:cubicBezTo>
                  <a:pt x="82157" y="392609"/>
                  <a:pt x="77729" y="385084"/>
                  <a:pt x="77729" y="376617"/>
                </a:cubicBezTo>
                <a:lnTo>
                  <a:pt x="77729" y="322056"/>
                </a:lnTo>
                <a:cubicBezTo>
                  <a:pt x="77729" y="294775"/>
                  <a:pt x="99870" y="272856"/>
                  <a:pt x="127004" y="272856"/>
                </a:cubicBezTo>
                <a:close/>
                <a:moveTo>
                  <a:pt x="297600" y="222543"/>
                </a:moveTo>
                <a:lnTo>
                  <a:pt x="304477" y="222543"/>
                </a:lnTo>
                <a:lnTo>
                  <a:pt x="311260" y="222543"/>
                </a:lnTo>
                <a:cubicBezTo>
                  <a:pt x="343291" y="222543"/>
                  <a:pt x="369198" y="248506"/>
                  <a:pt x="369198" y="280395"/>
                </a:cubicBezTo>
                <a:lnTo>
                  <a:pt x="369198" y="344455"/>
                </a:lnTo>
                <a:cubicBezTo>
                  <a:pt x="369198" y="354520"/>
                  <a:pt x="364017" y="363456"/>
                  <a:pt x="356198" y="368536"/>
                </a:cubicBezTo>
                <a:lnTo>
                  <a:pt x="356198" y="430432"/>
                </a:lnTo>
                <a:cubicBezTo>
                  <a:pt x="356198" y="431561"/>
                  <a:pt x="356857" y="432502"/>
                  <a:pt x="357893" y="433066"/>
                </a:cubicBezTo>
                <a:cubicBezTo>
                  <a:pt x="366655" y="437299"/>
                  <a:pt x="409520" y="459029"/>
                  <a:pt x="449275" y="491576"/>
                </a:cubicBezTo>
                <a:cubicBezTo>
                  <a:pt x="456435" y="497502"/>
                  <a:pt x="460580" y="506251"/>
                  <a:pt x="460580" y="515563"/>
                </a:cubicBezTo>
                <a:lnTo>
                  <a:pt x="460580" y="559493"/>
                </a:lnTo>
                <a:lnTo>
                  <a:pt x="304477" y="559493"/>
                </a:lnTo>
                <a:lnTo>
                  <a:pt x="148187" y="559493"/>
                </a:lnTo>
                <a:lnTo>
                  <a:pt x="148187" y="515563"/>
                </a:lnTo>
                <a:cubicBezTo>
                  <a:pt x="148187" y="506251"/>
                  <a:pt x="152332" y="497502"/>
                  <a:pt x="159492" y="491576"/>
                </a:cubicBezTo>
                <a:cubicBezTo>
                  <a:pt x="199342" y="459029"/>
                  <a:pt x="242206" y="437299"/>
                  <a:pt x="250967" y="433066"/>
                </a:cubicBezTo>
                <a:cubicBezTo>
                  <a:pt x="252004" y="432502"/>
                  <a:pt x="252569" y="431561"/>
                  <a:pt x="252569" y="430432"/>
                </a:cubicBezTo>
                <a:lnTo>
                  <a:pt x="252569" y="368536"/>
                </a:lnTo>
                <a:cubicBezTo>
                  <a:pt x="244844" y="363456"/>
                  <a:pt x="239663" y="354520"/>
                  <a:pt x="239663" y="344455"/>
                </a:cubicBezTo>
                <a:lnTo>
                  <a:pt x="239663" y="280395"/>
                </a:lnTo>
                <a:cubicBezTo>
                  <a:pt x="239663" y="248412"/>
                  <a:pt x="265664" y="222543"/>
                  <a:pt x="297600" y="222543"/>
                </a:cubicBezTo>
                <a:close/>
                <a:moveTo>
                  <a:pt x="492495" y="40775"/>
                </a:moveTo>
                <a:cubicBezTo>
                  <a:pt x="488350" y="40775"/>
                  <a:pt x="487596" y="41528"/>
                  <a:pt x="487502" y="45854"/>
                </a:cubicBezTo>
                <a:lnTo>
                  <a:pt x="487502" y="51498"/>
                </a:lnTo>
                <a:cubicBezTo>
                  <a:pt x="487502" y="57142"/>
                  <a:pt x="487502" y="56953"/>
                  <a:pt x="482038" y="59023"/>
                </a:cubicBezTo>
                <a:cubicBezTo>
                  <a:pt x="469036" y="63726"/>
                  <a:pt x="460934" y="72661"/>
                  <a:pt x="460086" y="86864"/>
                </a:cubicBezTo>
                <a:cubicBezTo>
                  <a:pt x="459332" y="99374"/>
                  <a:pt x="465833" y="107934"/>
                  <a:pt x="476196" y="114048"/>
                </a:cubicBezTo>
                <a:cubicBezTo>
                  <a:pt x="482414" y="117810"/>
                  <a:pt x="489480" y="120068"/>
                  <a:pt x="496264" y="123078"/>
                </a:cubicBezTo>
                <a:cubicBezTo>
                  <a:pt x="498902" y="124206"/>
                  <a:pt x="501445" y="125617"/>
                  <a:pt x="503706" y="127310"/>
                </a:cubicBezTo>
                <a:cubicBezTo>
                  <a:pt x="510207" y="132578"/>
                  <a:pt x="508982" y="141513"/>
                  <a:pt x="501257" y="144900"/>
                </a:cubicBezTo>
                <a:cubicBezTo>
                  <a:pt x="497112" y="146781"/>
                  <a:pt x="492778" y="147157"/>
                  <a:pt x="488350" y="146687"/>
                </a:cubicBezTo>
                <a:cubicBezTo>
                  <a:pt x="481472" y="145746"/>
                  <a:pt x="474783" y="144053"/>
                  <a:pt x="468659" y="140761"/>
                </a:cubicBezTo>
                <a:cubicBezTo>
                  <a:pt x="464985" y="138880"/>
                  <a:pt x="463949" y="139350"/>
                  <a:pt x="462724" y="143301"/>
                </a:cubicBezTo>
                <a:cubicBezTo>
                  <a:pt x="461593" y="146687"/>
                  <a:pt x="460557" y="150167"/>
                  <a:pt x="459709" y="153553"/>
                </a:cubicBezTo>
                <a:cubicBezTo>
                  <a:pt x="458484" y="158162"/>
                  <a:pt x="458861" y="159291"/>
                  <a:pt x="463572" y="161548"/>
                </a:cubicBezTo>
                <a:cubicBezTo>
                  <a:pt x="469130" y="164370"/>
                  <a:pt x="475160" y="165687"/>
                  <a:pt x="481284" y="166722"/>
                </a:cubicBezTo>
                <a:cubicBezTo>
                  <a:pt x="486089" y="167474"/>
                  <a:pt x="486371" y="167568"/>
                  <a:pt x="486371" y="172647"/>
                </a:cubicBezTo>
                <a:lnTo>
                  <a:pt x="486371" y="179420"/>
                </a:lnTo>
                <a:cubicBezTo>
                  <a:pt x="486371" y="182147"/>
                  <a:pt x="487690" y="183934"/>
                  <a:pt x="490611" y="183934"/>
                </a:cubicBezTo>
                <a:cubicBezTo>
                  <a:pt x="493908" y="184029"/>
                  <a:pt x="497300" y="184029"/>
                  <a:pt x="500503" y="183934"/>
                </a:cubicBezTo>
                <a:cubicBezTo>
                  <a:pt x="503330" y="183934"/>
                  <a:pt x="504649" y="182430"/>
                  <a:pt x="504649" y="179608"/>
                </a:cubicBezTo>
                <a:cubicBezTo>
                  <a:pt x="504649" y="176504"/>
                  <a:pt x="504837" y="173494"/>
                  <a:pt x="504649" y="170390"/>
                </a:cubicBezTo>
                <a:cubicBezTo>
                  <a:pt x="504554" y="167192"/>
                  <a:pt x="505968" y="165687"/>
                  <a:pt x="508982" y="164840"/>
                </a:cubicBezTo>
                <a:cubicBezTo>
                  <a:pt x="515860" y="162959"/>
                  <a:pt x="521889" y="159197"/>
                  <a:pt x="526412" y="153647"/>
                </a:cubicBezTo>
                <a:cubicBezTo>
                  <a:pt x="538942" y="138221"/>
                  <a:pt x="534231" y="115835"/>
                  <a:pt x="516237" y="105865"/>
                </a:cubicBezTo>
                <a:cubicBezTo>
                  <a:pt x="510584" y="102761"/>
                  <a:pt x="504554" y="100503"/>
                  <a:pt x="498619" y="97964"/>
                </a:cubicBezTo>
                <a:cubicBezTo>
                  <a:pt x="495227" y="96647"/>
                  <a:pt x="492024" y="94860"/>
                  <a:pt x="489104" y="92602"/>
                </a:cubicBezTo>
                <a:cubicBezTo>
                  <a:pt x="483451" y="88087"/>
                  <a:pt x="484581" y="80657"/>
                  <a:pt x="491270" y="77835"/>
                </a:cubicBezTo>
                <a:cubicBezTo>
                  <a:pt x="493155" y="76894"/>
                  <a:pt x="495133" y="76706"/>
                  <a:pt x="497112" y="76518"/>
                </a:cubicBezTo>
                <a:cubicBezTo>
                  <a:pt x="504931" y="76142"/>
                  <a:pt x="512186" y="77553"/>
                  <a:pt x="519252" y="80939"/>
                </a:cubicBezTo>
                <a:cubicBezTo>
                  <a:pt x="522643" y="82538"/>
                  <a:pt x="523868" y="82067"/>
                  <a:pt x="524998" y="78399"/>
                </a:cubicBezTo>
                <a:cubicBezTo>
                  <a:pt x="526317" y="74543"/>
                  <a:pt x="527260" y="70686"/>
                  <a:pt x="528390" y="66736"/>
                </a:cubicBezTo>
                <a:cubicBezTo>
                  <a:pt x="529144" y="64102"/>
                  <a:pt x="528296" y="62503"/>
                  <a:pt x="525752" y="61374"/>
                </a:cubicBezTo>
                <a:cubicBezTo>
                  <a:pt x="521230" y="59399"/>
                  <a:pt x="516708" y="57988"/>
                  <a:pt x="511809" y="57236"/>
                </a:cubicBezTo>
                <a:cubicBezTo>
                  <a:pt x="505402" y="56201"/>
                  <a:pt x="505402" y="56201"/>
                  <a:pt x="505402" y="49805"/>
                </a:cubicBezTo>
                <a:cubicBezTo>
                  <a:pt x="505402" y="40775"/>
                  <a:pt x="505402" y="40775"/>
                  <a:pt x="496358" y="40775"/>
                </a:cubicBezTo>
                <a:close/>
                <a:moveTo>
                  <a:pt x="496111" y="0"/>
                </a:moveTo>
                <a:cubicBezTo>
                  <a:pt x="524951" y="0"/>
                  <a:pt x="553781" y="10958"/>
                  <a:pt x="575779" y="32874"/>
                </a:cubicBezTo>
                <a:cubicBezTo>
                  <a:pt x="619776" y="76894"/>
                  <a:pt x="619776" y="148192"/>
                  <a:pt x="575779" y="192024"/>
                </a:cubicBezTo>
                <a:cubicBezTo>
                  <a:pt x="538754" y="229083"/>
                  <a:pt x="482226" y="234821"/>
                  <a:pt x="438982" y="209519"/>
                </a:cubicBezTo>
                <a:lnTo>
                  <a:pt x="438700" y="209237"/>
                </a:lnTo>
                <a:cubicBezTo>
                  <a:pt x="421742" y="222029"/>
                  <a:pt x="403559" y="224286"/>
                  <a:pt x="390840" y="222311"/>
                </a:cubicBezTo>
                <a:cubicBezTo>
                  <a:pt x="386600" y="221653"/>
                  <a:pt x="385752" y="215915"/>
                  <a:pt x="389615" y="214034"/>
                </a:cubicBezTo>
                <a:cubicBezTo>
                  <a:pt x="401297" y="208202"/>
                  <a:pt x="408552" y="196915"/>
                  <a:pt x="412886" y="187791"/>
                </a:cubicBezTo>
                <a:lnTo>
                  <a:pt x="411567" y="187038"/>
                </a:lnTo>
                <a:cubicBezTo>
                  <a:pt x="372374" y="142736"/>
                  <a:pt x="374070" y="75201"/>
                  <a:pt x="416371" y="32874"/>
                </a:cubicBezTo>
                <a:cubicBezTo>
                  <a:pt x="438417" y="10958"/>
                  <a:pt x="467270" y="0"/>
                  <a:pt x="49611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38" name="任意多边形: 形状 37"/>
          <p:cNvSpPr/>
          <p:nvPr/>
        </p:nvSpPr>
        <p:spPr bwMode="auto">
          <a:xfrm>
            <a:off x="7254003" y="3611493"/>
            <a:ext cx="323603" cy="354830"/>
          </a:xfrm>
          <a:custGeom>
            <a:avLst/>
            <a:gdLst>
              <a:gd name="connsiteX0" fmla="*/ 257952 w 552598"/>
              <a:gd name="connsiteY0" fmla="*/ 238897 h 605921"/>
              <a:gd name="connsiteX1" fmla="*/ 252845 w 552598"/>
              <a:gd name="connsiteY1" fmla="*/ 243996 h 605921"/>
              <a:gd name="connsiteX2" fmla="*/ 252845 w 552598"/>
              <a:gd name="connsiteY2" fmla="*/ 308986 h 605921"/>
              <a:gd name="connsiteX3" fmla="*/ 228056 w 552598"/>
              <a:gd name="connsiteY3" fmla="*/ 308986 h 605921"/>
              <a:gd name="connsiteX4" fmla="*/ 225642 w 552598"/>
              <a:gd name="connsiteY4" fmla="*/ 314085 h 605921"/>
              <a:gd name="connsiteX5" fmla="*/ 273271 w 552598"/>
              <a:gd name="connsiteY5" fmla="*/ 372123 h 605921"/>
              <a:gd name="connsiteX6" fmla="*/ 279306 w 552598"/>
              <a:gd name="connsiteY6" fmla="*/ 372123 h 605921"/>
              <a:gd name="connsiteX7" fmla="*/ 327027 w 552598"/>
              <a:gd name="connsiteY7" fmla="*/ 314085 h 605921"/>
              <a:gd name="connsiteX8" fmla="*/ 324520 w 552598"/>
              <a:gd name="connsiteY8" fmla="*/ 308986 h 605921"/>
              <a:gd name="connsiteX9" fmla="*/ 299731 w 552598"/>
              <a:gd name="connsiteY9" fmla="*/ 308986 h 605921"/>
              <a:gd name="connsiteX10" fmla="*/ 299731 w 552598"/>
              <a:gd name="connsiteY10" fmla="*/ 243996 h 605921"/>
              <a:gd name="connsiteX11" fmla="*/ 294718 w 552598"/>
              <a:gd name="connsiteY11" fmla="*/ 238897 h 605921"/>
              <a:gd name="connsiteX12" fmla="*/ 260737 w 552598"/>
              <a:gd name="connsiteY12" fmla="*/ 130146 h 605921"/>
              <a:gd name="connsiteX13" fmla="*/ 291932 w 552598"/>
              <a:gd name="connsiteY13" fmla="*/ 130146 h 605921"/>
              <a:gd name="connsiteX14" fmla="*/ 303445 w 552598"/>
              <a:gd name="connsiteY14" fmla="*/ 141642 h 605921"/>
              <a:gd name="connsiteX15" fmla="*/ 303445 w 552598"/>
              <a:gd name="connsiteY15" fmla="*/ 167602 h 605921"/>
              <a:gd name="connsiteX16" fmla="*/ 353580 w 552598"/>
              <a:gd name="connsiteY16" fmla="*/ 188369 h 605921"/>
              <a:gd name="connsiteX17" fmla="*/ 371963 w 552598"/>
              <a:gd name="connsiteY17" fmla="*/ 170012 h 605921"/>
              <a:gd name="connsiteX18" fmla="*/ 388118 w 552598"/>
              <a:gd name="connsiteY18" fmla="*/ 170012 h 605921"/>
              <a:gd name="connsiteX19" fmla="*/ 410215 w 552598"/>
              <a:gd name="connsiteY19" fmla="*/ 192077 h 605921"/>
              <a:gd name="connsiteX20" fmla="*/ 410215 w 552598"/>
              <a:gd name="connsiteY20" fmla="*/ 208209 h 605921"/>
              <a:gd name="connsiteX21" fmla="*/ 391832 w 552598"/>
              <a:gd name="connsiteY21" fmla="*/ 226566 h 605921"/>
              <a:gd name="connsiteX22" fmla="*/ 412628 w 552598"/>
              <a:gd name="connsiteY22" fmla="*/ 276630 h 605921"/>
              <a:gd name="connsiteX23" fmla="*/ 438625 w 552598"/>
              <a:gd name="connsiteY23" fmla="*/ 276630 h 605921"/>
              <a:gd name="connsiteX24" fmla="*/ 450137 w 552598"/>
              <a:gd name="connsiteY24" fmla="*/ 288126 h 605921"/>
              <a:gd name="connsiteX25" fmla="*/ 450137 w 552598"/>
              <a:gd name="connsiteY25" fmla="*/ 319277 h 605921"/>
              <a:gd name="connsiteX26" fmla="*/ 438625 w 552598"/>
              <a:gd name="connsiteY26" fmla="*/ 330773 h 605921"/>
              <a:gd name="connsiteX27" fmla="*/ 412628 w 552598"/>
              <a:gd name="connsiteY27" fmla="*/ 330773 h 605921"/>
              <a:gd name="connsiteX28" fmla="*/ 391832 w 552598"/>
              <a:gd name="connsiteY28" fmla="*/ 380838 h 605921"/>
              <a:gd name="connsiteX29" fmla="*/ 410215 w 552598"/>
              <a:gd name="connsiteY29" fmla="*/ 399102 h 605921"/>
              <a:gd name="connsiteX30" fmla="*/ 410215 w 552598"/>
              <a:gd name="connsiteY30" fmla="*/ 415326 h 605921"/>
              <a:gd name="connsiteX31" fmla="*/ 388118 w 552598"/>
              <a:gd name="connsiteY31" fmla="*/ 437299 h 605921"/>
              <a:gd name="connsiteX32" fmla="*/ 371963 w 552598"/>
              <a:gd name="connsiteY32" fmla="*/ 437299 h 605921"/>
              <a:gd name="connsiteX33" fmla="*/ 353580 w 552598"/>
              <a:gd name="connsiteY33" fmla="*/ 419035 h 605921"/>
              <a:gd name="connsiteX34" fmla="*/ 303445 w 552598"/>
              <a:gd name="connsiteY34" fmla="*/ 439802 h 605921"/>
              <a:gd name="connsiteX35" fmla="*/ 303445 w 552598"/>
              <a:gd name="connsiteY35" fmla="*/ 465761 h 605921"/>
              <a:gd name="connsiteX36" fmla="*/ 291932 w 552598"/>
              <a:gd name="connsiteY36" fmla="*/ 477257 h 605921"/>
              <a:gd name="connsiteX37" fmla="*/ 260737 w 552598"/>
              <a:gd name="connsiteY37" fmla="*/ 477257 h 605921"/>
              <a:gd name="connsiteX38" fmla="*/ 249224 w 552598"/>
              <a:gd name="connsiteY38" fmla="*/ 465761 h 605921"/>
              <a:gd name="connsiteX39" fmla="*/ 249224 w 552598"/>
              <a:gd name="connsiteY39" fmla="*/ 439802 h 605921"/>
              <a:gd name="connsiteX40" fmla="*/ 199089 w 552598"/>
              <a:gd name="connsiteY40" fmla="*/ 419035 h 605921"/>
              <a:gd name="connsiteX41" fmla="*/ 180799 w 552598"/>
              <a:gd name="connsiteY41" fmla="*/ 437299 h 605921"/>
              <a:gd name="connsiteX42" fmla="*/ 164551 w 552598"/>
              <a:gd name="connsiteY42" fmla="*/ 437299 h 605921"/>
              <a:gd name="connsiteX43" fmla="*/ 142547 w 552598"/>
              <a:gd name="connsiteY43" fmla="*/ 415326 h 605921"/>
              <a:gd name="connsiteX44" fmla="*/ 142547 w 552598"/>
              <a:gd name="connsiteY44" fmla="*/ 399102 h 605921"/>
              <a:gd name="connsiteX45" fmla="*/ 160837 w 552598"/>
              <a:gd name="connsiteY45" fmla="*/ 380838 h 605921"/>
              <a:gd name="connsiteX46" fmla="*/ 140041 w 552598"/>
              <a:gd name="connsiteY46" fmla="*/ 330773 h 605921"/>
              <a:gd name="connsiteX47" fmla="*/ 114044 w 552598"/>
              <a:gd name="connsiteY47" fmla="*/ 330773 h 605921"/>
              <a:gd name="connsiteX48" fmla="*/ 102532 w 552598"/>
              <a:gd name="connsiteY48" fmla="*/ 319277 h 605921"/>
              <a:gd name="connsiteX49" fmla="*/ 102532 w 552598"/>
              <a:gd name="connsiteY49" fmla="*/ 288126 h 605921"/>
              <a:gd name="connsiteX50" fmla="*/ 114044 w 552598"/>
              <a:gd name="connsiteY50" fmla="*/ 276630 h 605921"/>
              <a:gd name="connsiteX51" fmla="*/ 140041 w 552598"/>
              <a:gd name="connsiteY51" fmla="*/ 276630 h 605921"/>
              <a:gd name="connsiteX52" fmla="*/ 160837 w 552598"/>
              <a:gd name="connsiteY52" fmla="*/ 226566 h 605921"/>
              <a:gd name="connsiteX53" fmla="*/ 142547 w 552598"/>
              <a:gd name="connsiteY53" fmla="*/ 208209 h 605921"/>
              <a:gd name="connsiteX54" fmla="*/ 142547 w 552598"/>
              <a:gd name="connsiteY54" fmla="*/ 192077 h 605921"/>
              <a:gd name="connsiteX55" fmla="*/ 164551 w 552598"/>
              <a:gd name="connsiteY55" fmla="*/ 170012 h 605921"/>
              <a:gd name="connsiteX56" fmla="*/ 180799 w 552598"/>
              <a:gd name="connsiteY56" fmla="*/ 170012 h 605921"/>
              <a:gd name="connsiteX57" fmla="*/ 199089 w 552598"/>
              <a:gd name="connsiteY57" fmla="*/ 188369 h 605921"/>
              <a:gd name="connsiteX58" fmla="*/ 249224 w 552598"/>
              <a:gd name="connsiteY58" fmla="*/ 167602 h 605921"/>
              <a:gd name="connsiteX59" fmla="*/ 249224 w 552598"/>
              <a:gd name="connsiteY59" fmla="*/ 141642 h 605921"/>
              <a:gd name="connsiteX60" fmla="*/ 260737 w 552598"/>
              <a:gd name="connsiteY60" fmla="*/ 130146 h 605921"/>
              <a:gd name="connsiteX61" fmla="*/ 438507 w 552598"/>
              <a:gd name="connsiteY61" fmla="*/ 79551 h 605921"/>
              <a:gd name="connsiteX62" fmla="*/ 552598 w 552598"/>
              <a:gd name="connsiteY62" fmla="*/ 302952 h 605921"/>
              <a:gd name="connsiteX63" fmla="*/ 276329 w 552598"/>
              <a:gd name="connsiteY63" fmla="*/ 578821 h 605921"/>
              <a:gd name="connsiteX64" fmla="*/ 276329 w 552598"/>
              <a:gd name="connsiteY64" fmla="*/ 602737 h 605921"/>
              <a:gd name="connsiteX65" fmla="*/ 271316 w 552598"/>
              <a:gd name="connsiteY65" fmla="*/ 605332 h 605921"/>
              <a:gd name="connsiteX66" fmla="*/ 206426 w 552598"/>
              <a:gd name="connsiteY66" fmla="*/ 560837 h 605921"/>
              <a:gd name="connsiteX67" fmla="*/ 206426 w 552598"/>
              <a:gd name="connsiteY67" fmla="*/ 555553 h 605921"/>
              <a:gd name="connsiteX68" fmla="*/ 271316 w 552598"/>
              <a:gd name="connsiteY68" fmla="*/ 511059 h 605921"/>
              <a:gd name="connsiteX69" fmla="*/ 276329 w 552598"/>
              <a:gd name="connsiteY69" fmla="*/ 513654 h 605921"/>
              <a:gd name="connsiteX70" fmla="*/ 276329 w 552598"/>
              <a:gd name="connsiteY70" fmla="*/ 537663 h 605921"/>
              <a:gd name="connsiteX71" fmla="*/ 511381 w 552598"/>
              <a:gd name="connsiteY71" fmla="*/ 302952 h 605921"/>
              <a:gd name="connsiteX72" fmla="*/ 414278 w 552598"/>
              <a:gd name="connsiteY72" fmla="*/ 112830 h 605921"/>
              <a:gd name="connsiteX73" fmla="*/ 281414 w 552598"/>
              <a:gd name="connsiteY73" fmla="*/ 589 h 605921"/>
              <a:gd name="connsiteX74" fmla="*/ 346313 w 552598"/>
              <a:gd name="connsiteY74" fmla="*/ 45086 h 605921"/>
              <a:gd name="connsiteX75" fmla="*/ 346313 w 552598"/>
              <a:gd name="connsiteY75" fmla="*/ 50277 h 605921"/>
              <a:gd name="connsiteX76" fmla="*/ 281414 w 552598"/>
              <a:gd name="connsiteY76" fmla="*/ 94775 h 605921"/>
              <a:gd name="connsiteX77" fmla="*/ 276308 w 552598"/>
              <a:gd name="connsiteY77" fmla="*/ 92179 h 605921"/>
              <a:gd name="connsiteX78" fmla="*/ 276308 w 552598"/>
              <a:gd name="connsiteY78" fmla="*/ 68262 h 605921"/>
              <a:gd name="connsiteX79" fmla="*/ 41223 w 552598"/>
              <a:gd name="connsiteY79" fmla="*/ 303077 h 605921"/>
              <a:gd name="connsiteX80" fmla="*/ 138432 w 552598"/>
              <a:gd name="connsiteY80" fmla="*/ 493302 h 605921"/>
              <a:gd name="connsiteX81" fmla="*/ 114200 w 552598"/>
              <a:gd name="connsiteY81" fmla="*/ 526582 h 605921"/>
              <a:gd name="connsiteX82" fmla="*/ 0 w 552598"/>
              <a:gd name="connsiteY82" fmla="*/ 303077 h 605921"/>
              <a:gd name="connsiteX83" fmla="*/ 276308 w 552598"/>
              <a:gd name="connsiteY83" fmla="*/ 27195 h 605921"/>
              <a:gd name="connsiteX84" fmla="*/ 276308 w 552598"/>
              <a:gd name="connsiteY84" fmla="*/ 3185 h 605921"/>
              <a:gd name="connsiteX85" fmla="*/ 281414 w 552598"/>
              <a:gd name="connsiteY85" fmla="*/ 589 h 60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552598" h="605921">
                <a:moveTo>
                  <a:pt x="257952" y="238897"/>
                </a:moveTo>
                <a:cubicBezTo>
                  <a:pt x="255074" y="238897"/>
                  <a:pt x="252845" y="241122"/>
                  <a:pt x="252845" y="243996"/>
                </a:cubicBezTo>
                <a:lnTo>
                  <a:pt x="252845" y="308986"/>
                </a:lnTo>
                <a:lnTo>
                  <a:pt x="228056" y="308986"/>
                </a:lnTo>
                <a:cubicBezTo>
                  <a:pt x="225364" y="308986"/>
                  <a:pt x="223878" y="311953"/>
                  <a:pt x="225642" y="314085"/>
                </a:cubicBezTo>
                <a:lnTo>
                  <a:pt x="273271" y="372123"/>
                </a:lnTo>
                <a:cubicBezTo>
                  <a:pt x="274849" y="373977"/>
                  <a:pt x="277727" y="373977"/>
                  <a:pt x="279306" y="372123"/>
                </a:cubicBezTo>
                <a:lnTo>
                  <a:pt x="327027" y="314085"/>
                </a:lnTo>
                <a:cubicBezTo>
                  <a:pt x="328605" y="311953"/>
                  <a:pt x="327213" y="308894"/>
                  <a:pt x="324520" y="308986"/>
                </a:cubicBezTo>
                <a:lnTo>
                  <a:pt x="299731" y="308986"/>
                </a:lnTo>
                <a:lnTo>
                  <a:pt x="299731" y="243996"/>
                </a:lnTo>
                <a:cubicBezTo>
                  <a:pt x="299731" y="241122"/>
                  <a:pt x="297503" y="238897"/>
                  <a:pt x="294718" y="238897"/>
                </a:cubicBezTo>
                <a:close/>
                <a:moveTo>
                  <a:pt x="260737" y="130146"/>
                </a:moveTo>
                <a:lnTo>
                  <a:pt x="291932" y="130146"/>
                </a:lnTo>
                <a:cubicBezTo>
                  <a:pt x="298431" y="130146"/>
                  <a:pt x="303445" y="135338"/>
                  <a:pt x="303445" y="141642"/>
                </a:cubicBezTo>
                <a:lnTo>
                  <a:pt x="303445" y="167602"/>
                </a:lnTo>
                <a:cubicBezTo>
                  <a:pt x="321642" y="171125"/>
                  <a:pt x="338632" y="178356"/>
                  <a:pt x="353580" y="188369"/>
                </a:cubicBezTo>
                <a:lnTo>
                  <a:pt x="371963" y="170012"/>
                </a:lnTo>
                <a:cubicBezTo>
                  <a:pt x="376420" y="165562"/>
                  <a:pt x="383661" y="165562"/>
                  <a:pt x="388118" y="170012"/>
                </a:cubicBezTo>
                <a:lnTo>
                  <a:pt x="410215" y="192077"/>
                </a:lnTo>
                <a:cubicBezTo>
                  <a:pt x="414671" y="196528"/>
                  <a:pt x="414671" y="203759"/>
                  <a:pt x="410215" y="208209"/>
                </a:cubicBezTo>
                <a:lnTo>
                  <a:pt x="391832" y="226566"/>
                </a:lnTo>
                <a:cubicBezTo>
                  <a:pt x="401859" y="241400"/>
                  <a:pt x="409100" y="258459"/>
                  <a:pt x="412628" y="276630"/>
                </a:cubicBezTo>
                <a:lnTo>
                  <a:pt x="438625" y="276630"/>
                </a:lnTo>
                <a:cubicBezTo>
                  <a:pt x="445124" y="276630"/>
                  <a:pt x="450137" y="281822"/>
                  <a:pt x="450137" y="288126"/>
                </a:cubicBezTo>
                <a:lnTo>
                  <a:pt x="450137" y="319277"/>
                </a:lnTo>
                <a:cubicBezTo>
                  <a:pt x="450137" y="325674"/>
                  <a:pt x="444938" y="330773"/>
                  <a:pt x="438625" y="330773"/>
                </a:cubicBezTo>
                <a:lnTo>
                  <a:pt x="412628" y="330773"/>
                </a:lnTo>
                <a:cubicBezTo>
                  <a:pt x="409100" y="348945"/>
                  <a:pt x="401859" y="365818"/>
                  <a:pt x="391832" y="380838"/>
                </a:cubicBezTo>
                <a:lnTo>
                  <a:pt x="410215" y="399102"/>
                </a:lnTo>
                <a:cubicBezTo>
                  <a:pt x="414671" y="403552"/>
                  <a:pt x="414671" y="410876"/>
                  <a:pt x="410215" y="415326"/>
                </a:cubicBezTo>
                <a:lnTo>
                  <a:pt x="388118" y="437299"/>
                </a:lnTo>
                <a:cubicBezTo>
                  <a:pt x="383661" y="441749"/>
                  <a:pt x="376420" y="441749"/>
                  <a:pt x="371963" y="437299"/>
                </a:cubicBezTo>
                <a:lnTo>
                  <a:pt x="353580" y="419035"/>
                </a:lnTo>
                <a:cubicBezTo>
                  <a:pt x="338725" y="429047"/>
                  <a:pt x="321642" y="436186"/>
                  <a:pt x="303445" y="439802"/>
                </a:cubicBezTo>
                <a:lnTo>
                  <a:pt x="303445" y="465761"/>
                </a:lnTo>
                <a:cubicBezTo>
                  <a:pt x="303445" y="472158"/>
                  <a:pt x="298246" y="477257"/>
                  <a:pt x="291932" y="477257"/>
                </a:cubicBezTo>
                <a:lnTo>
                  <a:pt x="260737" y="477257"/>
                </a:lnTo>
                <a:cubicBezTo>
                  <a:pt x="254331" y="477257"/>
                  <a:pt x="249224" y="472065"/>
                  <a:pt x="249224" y="465761"/>
                </a:cubicBezTo>
                <a:lnTo>
                  <a:pt x="249224" y="439802"/>
                </a:lnTo>
                <a:cubicBezTo>
                  <a:pt x="231027" y="436186"/>
                  <a:pt x="214130" y="429047"/>
                  <a:pt x="199089" y="419035"/>
                </a:cubicBezTo>
                <a:lnTo>
                  <a:pt x="180799" y="437299"/>
                </a:lnTo>
                <a:cubicBezTo>
                  <a:pt x="176342" y="441749"/>
                  <a:pt x="169008" y="441749"/>
                  <a:pt x="164551" y="437299"/>
                </a:cubicBezTo>
                <a:lnTo>
                  <a:pt x="142547" y="415326"/>
                </a:lnTo>
                <a:cubicBezTo>
                  <a:pt x="138091" y="410876"/>
                  <a:pt x="138091" y="403552"/>
                  <a:pt x="142547" y="399102"/>
                </a:cubicBezTo>
                <a:lnTo>
                  <a:pt x="160837" y="380838"/>
                </a:lnTo>
                <a:cubicBezTo>
                  <a:pt x="150810" y="366004"/>
                  <a:pt x="143661" y="348945"/>
                  <a:pt x="140041" y="330773"/>
                </a:cubicBezTo>
                <a:lnTo>
                  <a:pt x="114044" y="330773"/>
                </a:lnTo>
                <a:cubicBezTo>
                  <a:pt x="107638" y="330773"/>
                  <a:pt x="102532" y="325582"/>
                  <a:pt x="102532" y="319277"/>
                </a:cubicBezTo>
                <a:lnTo>
                  <a:pt x="102532" y="288126"/>
                </a:lnTo>
                <a:cubicBezTo>
                  <a:pt x="102532" y="281636"/>
                  <a:pt x="107731" y="276630"/>
                  <a:pt x="114044" y="276630"/>
                </a:cubicBezTo>
                <a:lnTo>
                  <a:pt x="140041" y="276630"/>
                </a:lnTo>
                <a:cubicBezTo>
                  <a:pt x="143661" y="258459"/>
                  <a:pt x="150810" y="241492"/>
                  <a:pt x="160837" y="226566"/>
                </a:cubicBezTo>
                <a:lnTo>
                  <a:pt x="142547" y="208209"/>
                </a:lnTo>
                <a:cubicBezTo>
                  <a:pt x="138091" y="203759"/>
                  <a:pt x="138091" y="196528"/>
                  <a:pt x="142547" y="192077"/>
                </a:cubicBezTo>
                <a:lnTo>
                  <a:pt x="164551" y="170012"/>
                </a:lnTo>
                <a:cubicBezTo>
                  <a:pt x="169008" y="165562"/>
                  <a:pt x="176342" y="165562"/>
                  <a:pt x="180799" y="170012"/>
                </a:cubicBezTo>
                <a:lnTo>
                  <a:pt x="199089" y="188369"/>
                </a:lnTo>
                <a:cubicBezTo>
                  <a:pt x="213944" y="178356"/>
                  <a:pt x="231027" y="171125"/>
                  <a:pt x="249224" y="167602"/>
                </a:cubicBezTo>
                <a:lnTo>
                  <a:pt x="249224" y="141642"/>
                </a:lnTo>
                <a:cubicBezTo>
                  <a:pt x="249224" y="135153"/>
                  <a:pt x="254424" y="130146"/>
                  <a:pt x="260737" y="130146"/>
                </a:cubicBezTo>
                <a:close/>
                <a:moveTo>
                  <a:pt x="438507" y="79551"/>
                </a:moveTo>
                <a:cubicBezTo>
                  <a:pt x="510081" y="131462"/>
                  <a:pt x="552598" y="214890"/>
                  <a:pt x="552598" y="302952"/>
                </a:cubicBezTo>
                <a:cubicBezTo>
                  <a:pt x="552598" y="455069"/>
                  <a:pt x="428760" y="578821"/>
                  <a:pt x="276329" y="578821"/>
                </a:cubicBezTo>
                <a:lnTo>
                  <a:pt x="276329" y="602737"/>
                </a:lnTo>
                <a:cubicBezTo>
                  <a:pt x="276329" y="605332"/>
                  <a:pt x="273358" y="606815"/>
                  <a:pt x="271316" y="605332"/>
                </a:cubicBezTo>
                <a:lnTo>
                  <a:pt x="206426" y="560837"/>
                </a:lnTo>
                <a:cubicBezTo>
                  <a:pt x="204569" y="559539"/>
                  <a:pt x="204569" y="556759"/>
                  <a:pt x="206426" y="555553"/>
                </a:cubicBezTo>
                <a:lnTo>
                  <a:pt x="271316" y="511059"/>
                </a:lnTo>
                <a:cubicBezTo>
                  <a:pt x="273544" y="509575"/>
                  <a:pt x="276329" y="511059"/>
                  <a:pt x="276329" y="513654"/>
                </a:cubicBezTo>
                <a:lnTo>
                  <a:pt x="276329" y="537663"/>
                </a:lnTo>
                <a:cubicBezTo>
                  <a:pt x="405923" y="537663"/>
                  <a:pt x="511381" y="432358"/>
                  <a:pt x="511381" y="302952"/>
                </a:cubicBezTo>
                <a:cubicBezTo>
                  <a:pt x="511381" y="228053"/>
                  <a:pt x="475176" y="156954"/>
                  <a:pt x="414278" y="112830"/>
                </a:cubicBezTo>
                <a:close/>
                <a:moveTo>
                  <a:pt x="281414" y="589"/>
                </a:moveTo>
                <a:lnTo>
                  <a:pt x="346313" y="45086"/>
                </a:lnTo>
                <a:cubicBezTo>
                  <a:pt x="348170" y="46384"/>
                  <a:pt x="348170" y="49072"/>
                  <a:pt x="346313" y="50277"/>
                </a:cubicBezTo>
                <a:lnTo>
                  <a:pt x="281414" y="94775"/>
                </a:lnTo>
                <a:cubicBezTo>
                  <a:pt x="279186" y="96258"/>
                  <a:pt x="276308" y="94775"/>
                  <a:pt x="276308" y="92179"/>
                </a:cubicBezTo>
                <a:lnTo>
                  <a:pt x="276308" y="68262"/>
                </a:lnTo>
                <a:cubicBezTo>
                  <a:pt x="146695" y="68262"/>
                  <a:pt x="41223" y="173665"/>
                  <a:pt x="41223" y="303077"/>
                </a:cubicBezTo>
                <a:cubicBezTo>
                  <a:pt x="41223" y="377980"/>
                  <a:pt x="77526" y="449176"/>
                  <a:pt x="138432" y="493302"/>
                </a:cubicBezTo>
                <a:lnTo>
                  <a:pt x="114200" y="526582"/>
                </a:lnTo>
                <a:cubicBezTo>
                  <a:pt x="42709" y="474762"/>
                  <a:pt x="0" y="391237"/>
                  <a:pt x="0" y="303077"/>
                </a:cubicBezTo>
                <a:cubicBezTo>
                  <a:pt x="0" y="150953"/>
                  <a:pt x="123948" y="27195"/>
                  <a:pt x="276308" y="27195"/>
                </a:cubicBezTo>
                <a:lnTo>
                  <a:pt x="276308" y="3185"/>
                </a:lnTo>
                <a:cubicBezTo>
                  <a:pt x="276308" y="589"/>
                  <a:pt x="279279" y="-894"/>
                  <a:pt x="281414" y="58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wrap="square" lIns="91440" tIns="45720" rIns="91440" bIns="45720">
            <a:normAutofit lnSpcReduction="10000"/>
          </a:bodyPr>
          <a:lstStyle/>
          <a:p>
            <a:endParaRPr lang="zh-CN" altLang="en-US"/>
          </a:p>
        </p:txBody>
      </p:sp>
      <p:sp>
        <p:nvSpPr>
          <p:cNvPr id="39" name="任意多边形: 形状 38"/>
          <p:cNvSpPr/>
          <p:nvPr/>
        </p:nvSpPr>
        <p:spPr bwMode="auto">
          <a:xfrm>
            <a:off x="5797091" y="3888659"/>
            <a:ext cx="459028" cy="488032"/>
          </a:xfrm>
          <a:custGeom>
            <a:avLst/>
            <a:gdLst>
              <a:gd name="connsiteX0" fmla="*/ 133148 w 570667"/>
              <a:gd name="connsiteY0" fmla="*/ 372716 h 606722"/>
              <a:gd name="connsiteX1" fmla="*/ 98615 w 570667"/>
              <a:gd name="connsiteY1" fmla="*/ 385336 h 606722"/>
              <a:gd name="connsiteX2" fmla="*/ 157624 w 570667"/>
              <a:gd name="connsiteY2" fmla="*/ 426037 h 606722"/>
              <a:gd name="connsiteX3" fmla="*/ 133148 w 570667"/>
              <a:gd name="connsiteY3" fmla="*/ 372716 h 606722"/>
              <a:gd name="connsiteX4" fmla="*/ 222418 w 570667"/>
              <a:gd name="connsiteY4" fmla="*/ 358586 h 606722"/>
              <a:gd name="connsiteX5" fmla="*/ 170885 w 570667"/>
              <a:gd name="connsiteY5" fmla="*/ 364096 h 606722"/>
              <a:gd name="connsiteX6" fmla="*/ 222418 w 570667"/>
              <a:gd name="connsiteY6" fmla="*/ 439368 h 606722"/>
              <a:gd name="connsiteX7" fmla="*/ 152195 w 570667"/>
              <a:gd name="connsiteY7" fmla="*/ 260564 h 606722"/>
              <a:gd name="connsiteX8" fmla="*/ 160472 w 570667"/>
              <a:gd name="connsiteY8" fmla="*/ 326949 h 606722"/>
              <a:gd name="connsiteX9" fmla="*/ 222418 w 570667"/>
              <a:gd name="connsiteY9" fmla="*/ 320195 h 606722"/>
              <a:gd name="connsiteX10" fmla="*/ 222418 w 570667"/>
              <a:gd name="connsiteY10" fmla="*/ 260564 h 606722"/>
              <a:gd name="connsiteX11" fmla="*/ 39339 w 570667"/>
              <a:gd name="connsiteY11" fmla="*/ 260564 h 606722"/>
              <a:gd name="connsiteX12" fmla="*/ 73338 w 570667"/>
              <a:gd name="connsiteY12" fmla="*/ 354854 h 606722"/>
              <a:gd name="connsiteX13" fmla="*/ 123091 w 570667"/>
              <a:gd name="connsiteY13" fmla="*/ 335658 h 606722"/>
              <a:gd name="connsiteX14" fmla="*/ 113657 w 570667"/>
              <a:gd name="connsiteY14" fmla="*/ 260564 h 606722"/>
              <a:gd name="connsiteX15" fmla="*/ 435071 w 570667"/>
              <a:gd name="connsiteY15" fmla="*/ 190994 h 606722"/>
              <a:gd name="connsiteX16" fmla="*/ 449493 w 570667"/>
              <a:gd name="connsiteY16" fmla="*/ 199593 h 606722"/>
              <a:gd name="connsiteX17" fmla="*/ 568250 w 570667"/>
              <a:gd name="connsiteY17" fmla="*/ 420443 h 606722"/>
              <a:gd name="connsiteX18" fmla="*/ 550445 w 570667"/>
              <a:gd name="connsiteY18" fmla="*/ 450127 h 606722"/>
              <a:gd name="connsiteX19" fmla="*/ 488574 w 570667"/>
              <a:gd name="connsiteY19" fmla="*/ 450127 h 606722"/>
              <a:gd name="connsiteX20" fmla="*/ 488574 w 570667"/>
              <a:gd name="connsiteY20" fmla="*/ 590370 h 606722"/>
              <a:gd name="connsiteX21" fmla="*/ 472194 w 570667"/>
              <a:gd name="connsiteY21" fmla="*/ 606722 h 606722"/>
              <a:gd name="connsiteX22" fmla="*/ 397948 w 570667"/>
              <a:gd name="connsiteY22" fmla="*/ 606722 h 606722"/>
              <a:gd name="connsiteX23" fmla="*/ 381568 w 570667"/>
              <a:gd name="connsiteY23" fmla="*/ 590370 h 606722"/>
              <a:gd name="connsiteX24" fmla="*/ 381568 w 570667"/>
              <a:gd name="connsiteY24" fmla="*/ 450127 h 606722"/>
              <a:gd name="connsiteX25" fmla="*/ 319697 w 570667"/>
              <a:gd name="connsiteY25" fmla="*/ 450127 h 606722"/>
              <a:gd name="connsiteX26" fmla="*/ 301892 w 570667"/>
              <a:gd name="connsiteY26" fmla="*/ 420443 h 606722"/>
              <a:gd name="connsiteX27" fmla="*/ 420649 w 570667"/>
              <a:gd name="connsiteY27" fmla="*/ 199593 h 606722"/>
              <a:gd name="connsiteX28" fmla="*/ 435071 w 570667"/>
              <a:gd name="connsiteY28" fmla="*/ 190994 h 606722"/>
              <a:gd name="connsiteX29" fmla="*/ 322724 w 570667"/>
              <a:gd name="connsiteY29" fmla="*/ 155254 h 606722"/>
              <a:gd name="connsiteX30" fmla="*/ 260956 w 570667"/>
              <a:gd name="connsiteY30" fmla="*/ 162008 h 606722"/>
              <a:gd name="connsiteX31" fmla="*/ 260956 w 570667"/>
              <a:gd name="connsiteY31" fmla="*/ 222083 h 606722"/>
              <a:gd name="connsiteX32" fmla="*/ 331180 w 570667"/>
              <a:gd name="connsiteY32" fmla="*/ 222083 h 606722"/>
              <a:gd name="connsiteX33" fmla="*/ 322724 w 570667"/>
              <a:gd name="connsiteY33" fmla="*/ 155254 h 606722"/>
              <a:gd name="connsiteX34" fmla="*/ 160650 w 570667"/>
              <a:gd name="connsiteY34" fmla="*/ 155254 h 606722"/>
              <a:gd name="connsiteX35" fmla="*/ 152195 w 570667"/>
              <a:gd name="connsiteY35" fmla="*/ 222083 h 606722"/>
              <a:gd name="connsiteX36" fmla="*/ 222418 w 570667"/>
              <a:gd name="connsiteY36" fmla="*/ 222083 h 606722"/>
              <a:gd name="connsiteX37" fmla="*/ 222418 w 570667"/>
              <a:gd name="connsiteY37" fmla="*/ 162008 h 606722"/>
              <a:gd name="connsiteX38" fmla="*/ 160650 w 570667"/>
              <a:gd name="connsiteY38" fmla="*/ 155254 h 606722"/>
              <a:gd name="connsiteX39" fmla="*/ 73605 w 570667"/>
              <a:gd name="connsiteY39" fmla="*/ 127438 h 606722"/>
              <a:gd name="connsiteX40" fmla="*/ 39339 w 570667"/>
              <a:gd name="connsiteY40" fmla="*/ 222083 h 606722"/>
              <a:gd name="connsiteX41" fmla="*/ 113746 w 570667"/>
              <a:gd name="connsiteY41" fmla="*/ 222083 h 606722"/>
              <a:gd name="connsiteX42" fmla="*/ 123269 w 570667"/>
              <a:gd name="connsiteY42" fmla="*/ 146544 h 606722"/>
              <a:gd name="connsiteX43" fmla="*/ 73605 w 570667"/>
              <a:gd name="connsiteY43" fmla="*/ 127438 h 606722"/>
              <a:gd name="connsiteX44" fmla="*/ 325305 w 570667"/>
              <a:gd name="connsiteY44" fmla="*/ 56431 h 606722"/>
              <a:gd name="connsiteX45" fmla="*/ 349870 w 570667"/>
              <a:gd name="connsiteY45" fmla="*/ 109575 h 606722"/>
              <a:gd name="connsiteX46" fmla="*/ 384403 w 570667"/>
              <a:gd name="connsiteY46" fmla="*/ 97045 h 606722"/>
              <a:gd name="connsiteX47" fmla="*/ 325305 w 570667"/>
              <a:gd name="connsiteY47" fmla="*/ 56431 h 606722"/>
              <a:gd name="connsiteX48" fmla="*/ 158069 w 570667"/>
              <a:gd name="connsiteY48" fmla="*/ 56431 h 606722"/>
              <a:gd name="connsiteX49" fmla="*/ 98971 w 570667"/>
              <a:gd name="connsiteY49" fmla="*/ 97045 h 606722"/>
              <a:gd name="connsiteX50" fmla="*/ 133504 w 570667"/>
              <a:gd name="connsiteY50" fmla="*/ 109575 h 606722"/>
              <a:gd name="connsiteX51" fmla="*/ 158069 w 570667"/>
              <a:gd name="connsiteY51" fmla="*/ 56431 h 606722"/>
              <a:gd name="connsiteX52" fmla="*/ 260956 w 570667"/>
              <a:gd name="connsiteY52" fmla="*/ 43723 h 606722"/>
              <a:gd name="connsiteX53" fmla="*/ 260956 w 570667"/>
              <a:gd name="connsiteY53" fmla="*/ 123616 h 606722"/>
              <a:gd name="connsiteX54" fmla="*/ 312222 w 570667"/>
              <a:gd name="connsiteY54" fmla="*/ 118195 h 606722"/>
              <a:gd name="connsiteX55" fmla="*/ 260956 w 570667"/>
              <a:gd name="connsiteY55" fmla="*/ 43723 h 606722"/>
              <a:gd name="connsiteX56" fmla="*/ 222418 w 570667"/>
              <a:gd name="connsiteY56" fmla="*/ 43723 h 606722"/>
              <a:gd name="connsiteX57" fmla="*/ 171152 w 570667"/>
              <a:gd name="connsiteY57" fmla="*/ 118195 h 606722"/>
              <a:gd name="connsiteX58" fmla="*/ 222418 w 570667"/>
              <a:gd name="connsiteY58" fmla="*/ 123616 h 606722"/>
              <a:gd name="connsiteX59" fmla="*/ 241643 w 570667"/>
              <a:gd name="connsiteY59" fmla="*/ 0 h 606722"/>
              <a:gd name="connsiteX60" fmla="*/ 471448 w 570667"/>
              <a:gd name="connsiteY60" fmla="*/ 166362 h 606722"/>
              <a:gd name="connsiteX61" fmla="*/ 424900 w 570667"/>
              <a:gd name="connsiteY61" fmla="*/ 153565 h 606722"/>
              <a:gd name="connsiteX62" fmla="*/ 409769 w 570667"/>
              <a:gd name="connsiteY62" fmla="*/ 127438 h 606722"/>
              <a:gd name="connsiteX63" fmla="*/ 360105 w 570667"/>
              <a:gd name="connsiteY63" fmla="*/ 146544 h 606722"/>
              <a:gd name="connsiteX64" fmla="*/ 369273 w 570667"/>
              <a:gd name="connsiteY64" fmla="*/ 213996 h 606722"/>
              <a:gd name="connsiteX65" fmla="*/ 329043 w 570667"/>
              <a:gd name="connsiteY65" fmla="*/ 288824 h 606722"/>
              <a:gd name="connsiteX66" fmla="*/ 331180 w 570667"/>
              <a:gd name="connsiteY66" fmla="*/ 260564 h 606722"/>
              <a:gd name="connsiteX67" fmla="*/ 260956 w 570667"/>
              <a:gd name="connsiteY67" fmla="*/ 260564 h 606722"/>
              <a:gd name="connsiteX68" fmla="*/ 260956 w 570667"/>
              <a:gd name="connsiteY68" fmla="*/ 320195 h 606722"/>
              <a:gd name="connsiteX69" fmla="*/ 309730 w 570667"/>
              <a:gd name="connsiteY69" fmla="*/ 324727 h 606722"/>
              <a:gd name="connsiteX70" fmla="*/ 290238 w 570667"/>
              <a:gd name="connsiteY70" fmla="*/ 360897 h 606722"/>
              <a:gd name="connsiteX71" fmla="*/ 260956 w 570667"/>
              <a:gd name="connsiteY71" fmla="*/ 358586 h 606722"/>
              <a:gd name="connsiteX72" fmla="*/ 260956 w 570667"/>
              <a:gd name="connsiteY72" fmla="*/ 439368 h 606722"/>
              <a:gd name="connsiteX73" fmla="*/ 261757 w 570667"/>
              <a:gd name="connsiteY73" fmla="*/ 438835 h 606722"/>
              <a:gd name="connsiteX74" fmla="*/ 287212 w 570667"/>
              <a:gd name="connsiteY74" fmla="*/ 478648 h 606722"/>
              <a:gd name="connsiteX75" fmla="*/ 241643 w 570667"/>
              <a:gd name="connsiteY75" fmla="*/ 483091 h 606722"/>
              <a:gd name="connsiteX76" fmla="*/ 0 w 570667"/>
              <a:gd name="connsiteY76" fmla="*/ 241368 h 606722"/>
              <a:gd name="connsiteX77" fmla="*/ 241643 w 570667"/>
              <a:gd name="connsiteY7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70667" h="606722">
                <a:moveTo>
                  <a:pt x="133148" y="372716"/>
                </a:moveTo>
                <a:cubicBezTo>
                  <a:pt x="120866" y="376271"/>
                  <a:pt x="109295" y="380537"/>
                  <a:pt x="98615" y="385336"/>
                </a:cubicBezTo>
                <a:cubicBezTo>
                  <a:pt x="115615" y="402132"/>
                  <a:pt x="135551" y="415995"/>
                  <a:pt x="157624" y="426037"/>
                </a:cubicBezTo>
                <a:cubicBezTo>
                  <a:pt x="147478" y="409597"/>
                  <a:pt x="139467" y="391379"/>
                  <a:pt x="133148" y="372716"/>
                </a:cubicBezTo>
                <a:close/>
                <a:moveTo>
                  <a:pt x="222418" y="358586"/>
                </a:moveTo>
                <a:cubicBezTo>
                  <a:pt x="204618" y="359386"/>
                  <a:pt x="187351" y="361252"/>
                  <a:pt x="170885" y="364096"/>
                </a:cubicBezTo>
                <a:cubicBezTo>
                  <a:pt x="180320" y="391023"/>
                  <a:pt x="197586" y="425682"/>
                  <a:pt x="222418" y="439368"/>
                </a:cubicBezTo>
                <a:close/>
                <a:moveTo>
                  <a:pt x="152195" y="260564"/>
                </a:moveTo>
                <a:cubicBezTo>
                  <a:pt x="153174" y="283758"/>
                  <a:pt x="156022" y="306153"/>
                  <a:pt x="160472" y="326949"/>
                </a:cubicBezTo>
                <a:cubicBezTo>
                  <a:pt x="180320" y="323305"/>
                  <a:pt x="201057" y="320994"/>
                  <a:pt x="222418" y="320195"/>
                </a:cubicBezTo>
                <a:lnTo>
                  <a:pt x="222418" y="260564"/>
                </a:lnTo>
                <a:close/>
                <a:moveTo>
                  <a:pt x="39339" y="260564"/>
                </a:moveTo>
                <a:cubicBezTo>
                  <a:pt x="42632" y="295223"/>
                  <a:pt x="54737" y="327482"/>
                  <a:pt x="73338" y="354854"/>
                </a:cubicBezTo>
                <a:cubicBezTo>
                  <a:pt x="88291" y="347389"/>
                  <a:pt x="105023" y="340901"/>
                  <a:pt x="123091" y="335658"/>
                </a:cubicBezTo>
                <a:cubicBezTo>
                  <a:pt x="117929" y="312019"/>
                  <a:pt x="114725" y="286691"/>
                  <a:pt x="113657" y="260564"/>
                </a:cubicBezTo>
                <a:close/>
                <a:moveTo>
                  <a:pt x="435071" y="190994"/>
                </a:moveTo>
                <a:cubicBezTo>
                  <a:pt x="440746" y="190994"/>
                  <a:pt x="446422" y="193861"/>
                  <a:pt x="449493" y="199593"/>
                </a:cubicBezTo>
                <a:lnTo>
                  <a:pt x="568250" y="420443"/>
                </a:lnTo>
                <a:cubicBezTo>
                  <a:pt x="575461" y="433863"/>
                  <a:pt x="565668" y="450127"/>
                  <a:pt x="550445" y="450127"/>
                </a:cubicBezTo>
                <a:lnTo>
                  <a:pt x="488574" y="450127"/>
                </a:lnTo>
                <a:lnTo>
                  <a:pt x="488574" y="590370"/>
                </a:lnTo>
                <a:cubicBezTo>
                  <a:pt x="488574" y="599346"/>
                  <a:pt x="481274" y="606722"/>
                  <a:pt x="472194" y="606722"/>
                </a:cubicBezTo>
                <a:lnTo>
                  <a:pt x="397948" y="606722"/>
                </a:lnTo>
                <a:cubicBezTo>
                  <a:pt x="388868" y="606722"/>
                  <a:pt x="381568" y="599346"/>
                  <a:pt x="381568" y="590370"/>
                </a:cubicBezTo>
                <a:lnTo>
                  <a:pt x="381568" y="450127"/>
                </a:lnTo>
                <a:lnTo>
                  <a:pt x="319697" y="450127"/>
                </a:lnTo>
                <a:cubicBezTo>
                  <a:pt x="304474" y="450127"/>
                  <a:pt x="294681" y="433863"/>
                  <a:pt x="301892" y="420443"/>
                </a:cubicBezTo>
                <a:lnTo>
                  <a:pt x="420649" y="199593"/>
                </a:lnTo>
                <a:cubicBezTo>
                  <a:pt x="423720" y="193861"/>
                  <a:pt x="429396" y="190994"/>
                  <a:pt x="435071" y="190994"/>
                </a:cubicBezTo>
                <a:close/>
                <a:moveTo>
                  <a:pt x="322724" y="155254"/>
                </a:moveTo>
                <a:cubicBezTo>
                  <a:pt x="302966" y="158897"/>
                  <a:pt x="282228" y="161208"/>
                  <a:pt x="260956" y="162008"/>
                </a:cubicBezTo>
                <a:lnTo>
                  <a:pt x="260956" y="222083"/>
                </a:lnTo>
                <a:lnTo>
                  <a:pt x="331180" y="222083"/>
                </a:lnTo>
                <a:cubicBezTo>
                  <a:pt x="330112" y="198711"/>
                  <a:pt x="327263" y="176227"/>
                  <a:pt x="322724" y="155254"/>
                </a:cubicBezTo>
                <a:close/>
                <a:moveTo>
                  <a:pt x="160650" y="155254"/>
                </a:moveTo>
                <a:cubicBezTo>
                  <a:pt x="156111" y="176227"/>
                  <a:pt x="153263" y="198711"/>
                  <a:pt x="152195" y="222083"/>
                </a:cubicBezTo>
                <a:lnTo>
                  <a:pt x="222418" y="222083"/>
                </a:lnTo>
                <a:lnTo>
                  <a:pt x="222418" y="162008"/>
                </a:lnTo>
                <a:cubicBezTo>
                  <a:pt x="201146" y="161119"/>
                  <a:pt x="180409" y="158897"/>
                  <a:pt x="160650" y="155254"/>
                </a:cubicBezTo>
                <a:close/>
                <a:moveTo>
                  <a:pt x="73605" y="127438"/>
                </a:moveTo>
                <a:cubicBezTo>
                  <a:pt x="54826" y="154898"/>
                  <a:pt x="42632" y="187246"/>
                  <a:pt x="39339" y="222083"/>
                </a:cubicBezTo>
                <a:lnTo>
                  <a:pt x="113746" y="222083"/>
                </a:lnTo>
                <a:cubicBezTo>
                  <a:pt x="114814" y="195778"/>
                  <a:pt x="118018" y="170361"/>
                  <a:pt x="123269" y="146544"/>
                </a:cubicBezTo>
                <a:cubicBezTo>
                  <a:pt x="105201" y="141390"/>
                  <a:pt x="88558" y="134903"/>
                  <a:pt x="73605" y="127438"/>
                </a:cubicBezTo>
                <a:close/>
                <a:moveTo>
                  <a:pt x="325305" y="56431"/>
                </a:moveTo>
                <a:cubicBezTo>
                  <a:pt x="335719" y="72961"/>
                  <a:pt x="343729" y="91179"/>
                  <a:pt x="349870" y="109575"/>
                </a:cubicBezTo>
                <a:cubicBezTo>
                  <a:pt x="362242" y="106020"/>
                  <a:pt x="373812" y="101843"/>
                  <a:pt x="384403" y="97045"/>
                </a:cubicBezTo>
                <a:cubicBezTo>
                  <a:pt x="367404" y="80248"/>
                  <a:pt x="347378" y="66385"/>
                  <a:pt x="325305" y="56431"/>
                </a:cubicBezTo>
                <a:close/>
                <a:moveTo>
                  <a:pt x="158069" y="56431"/>
                </a:moveTo>
                <a:cubicBezTo>
                  <a:pt x="135996" y="66385"/>
                  <a:pt x="115971" y="80248"/>
                  <a:pt x="98971" y="97045"/>
                </a:cubicBezTo>
                <a:cubicBezTo>
                  <a:pt x="109562" y="101843"/>
                  <a:pt x="121133" y="106020"/>
                  <a:pt x="133504" y="109575"/>
                </a:cubicBezTo>
                <a:cubicBezTo>
                  <a:pt x="139645" y="91179"/>
                  <a:pt x="147656" y="72961"/>
                  <a:pt x="158069" y="56431"/>
                </a:cubicBezTo>
                <a:close/>
                <a:moveTo>
                  <a:pt x="260956" y="43723"/>
                </a:moveTo>
                <a:lnTo>
                  <a:pt x="260956" y="123616"/>
                </a:lnTo>
                <a:cubicBezTo>
                  <a:pt x="278579" y="122816"/>
                  <a:pt x="295845" y="120950"/>
                  <a:pt x="312222" y="118195"/>
                </a:cubicBezTo>
                <a:cubicBezTo>
                  <a:pt x="302699" y="91446"/>
                  <a:pt x="285610" y="57320"/>
                  <a:pt x="260956" y="43723"/>
                </a:cubicBezTo>
                <a:close/>
                <a:moveTo>
                  <a:pt x="222418" y="43723"/>
                </a:moveTo>
                <a:cubicBezTo>
                  <a:pt x="197764" y="57231"/>
                  <a:pt x="180676" y="91446"/>
                  <a:pt x="171152" y="118195"/>
                </a:cubicBezTo>
                <a:cubicBezTo>
                  <a:pt x="187529" y="120950"/>
                  <a:pt x="204707" y="122816"/>
                  <a:pt x="222418" y="123616"/>
                </a:cubicBezTo>
                <a:close/>
                <a:moveTo>
                  <a:pt x="241643" y="0"/>
                </a:moveTo>
                <a:cubicBezTo>
                  <a:pt x="348802" y="0"/>
                  <a:pt x="439763" y="69940"/>
                  <a:pt x="471448" y="166362"/>
                </a:cubicBezTo>
                <a:cubicBezTo>
                  <a:pt x="458988" y="155342"/>
                  <a:pt x="441988" y="150366"/>
                  <a:pt x="424900" y="153565"/>
                </a:cubicBezTo>
                <a:cubicBezTo>
                  <a:pt x="420449" y="144500"/>
                  <a:pt x="415465" y="135702"/>
                  <a:pt x="409769" y="127438"/>
                </a:cubicBezTo>
                <a:cubicBezTo>
                  <a:pt x="394817" y="134903"/>
                  <a:pt x="378173" y="141390"/>
                  <a:pt x="360105" y="146544"/>
                </a:cubicBezTo>
                <a:cubicBezTo>
                  <a:pt x="364823" y="167873"/>
                  <a:pt x="367849" y="190535"/>
                  <a:pt x="369273" y="213996"/>
                </a:cubicBezTo>
                <a:lnTo>
                  <a:pt x="329043" y="288824"/>
                </a:lnTo>
                <a:cubicBezTo>
                  <a:pt x="330022" y="279582"/>
                  <a:pt x="330735" y="270162"/>
                  <a:pt x="331180" y="260564"/>
                </a:cubicBezTo>
                <a:lnTo>
                  <a:pt x="260956" y="260564"/>
                </a:lnTo>
                <a:lnTo>
                  <a:pt x="260956" y="320195"/>
                </a:lnTo>
                <a:cubicBezTo>
                  <a:pt x="277600" y="320817"/>
                  <a:pt x="293887" y="322416"/>
                  <a:pt x="309730" y="324727"/>
                </a:cubicBezTo>
                <a:lnTo>
                  <a:pt x="290238" y="360897"/>
                </a:lnTo>
                <a:cubicBezTo>
                  <a:pt x="280715" y="359830"/>
                  <a:pt x="270925" y="359030"/>
                  <a:pt x="260956" y="358586"/>
                </a:cubicBezTo>
                <a:lnTo>
                  <a:pt x="260956" y="439368"/>
                </a:lnTo>
                <a:cubicBezTo>
                  <a:pt x="261223" y="439190"/>
                  <a:pt x="261490" y="439012"/>
                  <a:pt x="261757" y="438835"/>
                </a:cubicBezTo>
                <a:cubicBezTo>
                  <a:pt x="264249" y="455186"/>
                  <a:pt x="273417" y="469494"/>
                  <a:pt x="287212" y="478648"/>
                </a:cubicBezTo>
                <a:cubicBezTo>
                  <a:pt x="272438" y="481580"/>
                  <a:pt x="257218" y="483091"/>
                  <a:pt x="241643" y="483091"/>
                </a:cubicBezTo>
                <a:cubicBezTo>
                  <a:pt x="112233" y="483091"/>
                  <a:pt x="0" y="377337"/>
                  <a:pt x="0" y="241368"/>
                </a:cubicBezTo>
                <a:cubicBezTo>
                  <a:pt x="0" y="108242"/>
                  <a:pt x="108405" y="0"/>
                  <a:pt x="2416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50" name="矩形 49"/>
          <p:cNvSpPr/>
          <p:nvPr/>
        </p:nvSpPr>
        <p:spPr bwMode="auto">
          <a:xfrm>
            <a:off x="7911465" y="2147570"/>
            <a:ext cx="3607435" cy="974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400" dirty="0">
                <a:latin typeface="宋体" panose="02010600030101010101" pitchFamily="2" charset="-122"/>
                <a:ea typeface="宋体" panose="02010600030101010101" pitchFamily="2" charset="-122"/>
              </a:rPr>
              <a:t>    一款商业软件历经设计、开发、测试、维护的数个阶段，软件开发公司需要投入大量的人力、物力、财力等大量资源和精力。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8" name="矩形 47"/>
          <p:cNvSpPr/>
          <p:nvPr/>
        </p:nvSpPr>
        <p:spPr bwMode="auto">
          <a:xfrm>
            <a:off x="668020" y="3301365"/>
            <a:ext cx="3333750" cy="134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altLang="zh-CN" sz="1400" dirty="0">
                <a:latin typeface="宋体" panose="02010600030101010101" pitchFamily="2" charset="-122"/>
                <a:ea typeface="宋体" panose="02010600030101010101" pitchFamily="2" charset="-122"/>
              </a:rPr>
              <a:t>    国内软件服务开发行业发展迅速，但是面向软件服务开发行业的服务配套还在成长中，软件版权的保护就是软件服务商其中一个十分重要的问题。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46" name="矩形 45"/>
          <p:cNvSpPr/>
          <p:nvPr/>
        </p:nvSpPr>
        <p:spPr bwMode="auto">
          <a:xfrm>
            <a:off x="8124190" y="3731895"/>
            <a:ext cx="3345815" cy="801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400" dirty="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   软件被盗用、复制和非法分发的现象，严重侵害了软件开发公司的版权，导致软件公司难以收回预期的成本</a:t>
            </a:r>
            <a:endParaRPr lang="en-US" altLang="zh-CN" sz="1400" dirty="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8033297" y="3121369"/>
            <a:ext cx="348560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/>
          <p:cNvCxnSpPr/>
          <p:nvPr/>
        </p:nvCxnSpPr>
        <p:spPr>
          <a:xfrm>
            <a:off x="8280961" y="4725492"/>
            <a:ext cx="323762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连接符 44"/>
          <p:cNvCxnSpPr/>
          <p:nvPr/>
        </p:nvCxnSpPr>
        <p:spPr>
          <a:xfrm>
            <a:off x="673100" y="4725924"/>
            <a:ext cx="323762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现状</a:t>
            </a:r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683554" y="2759231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现状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 dirty="0"/>
          </a:p>
        </p:txBody>
      </p:sp>
      <p:sp>
        <p:nvSpPr>
          <p:cNvPr id="93" name="任意多边形: 形状 92"/>
          <p:cNvSpPr/>
          <p:nvPr/>
        </p:nvSpPr>
        <p:spPr>
          <a:xfrm>
            <a:off x="5918619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94" name="直接连接符 93"/>
          <p:cNvSpPr/>
          <p:nvPr/>
        </p:nvSpPr>
        <p:spPr>
          <a:xfrm flipH="1" flipV="1">
            <a:off x="6089733" y="2886816"/>
            <a:ext cx="0" cy="1029929"/>
          </a:xfrm>
          <a:prstGeom prst="line">
            <a:avLst/>
          </a:pr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 fontScale="25000" lnSpcReduction="20000"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defRPr sz="1200">
                <a:solidFill>
                  <a:srgbClr val="000000"/>
                </a:solidFill>
              </a:defRPr>
            </a:pPr>
          </a:p>
        </p:txBody>
      </p:sp>
      <p:sp>
        <p:nvSpPr>
          <p:cNvPr id="95" name="任意多边形: 形状 94"/>
          <p:cNvSpPr/>
          <p:nvPr/>
        </p:nvSpPr>
        <p:spPr>
          <a:xfrm>
            <a:off x="10205234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96" name="任意多边形: 形状 95"/>
          <p:cNvSpPr/>
          <p:nvPr/>
        </p:nvSpPr>
        <p:spPr>
          <a:xfrm rot="1440000" flipH="1">
            <a:off x="6479966" y="2310999"/>
            <a:ext cx="4258940" cy="7730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0215" extrusionOk="0">
                <a:moveTo>
                  <a:pt x="0" y="10215"/>
                </a:moveTo>
                <a:cubicBezTo>
                  <a:pt x="10656" y="-11385"/>
                  <a:pt x="21600" y="7982"/>
                  <a:pt x="21600" y="7982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</a:p>
        </p:txBody>
      </p:sp>
      <p:sp>
        <p:nvSpPr>
          <p:cNvPr id="97" name="任意多边形: 形状 96"/>
          <p:cNvSpPr/>
          <p:nvPr/>
        </p:nvSpPr>
        <p:spPr>
          <a:xfrm>
            <a:off x="8776361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98" name="任意多边形: 形状 97"/>
          <p:cNvSpPr/>
          <p:nvPr/>
        </p:nvSpPr>
        <p:spPr>
          <a:xfrm rot="2222001" flipH="1">
            <a:off x="6433176" y="2525399"/>
            <a:ext cx="2996390" cy="5438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0215" extrusionOk="0">
                <a:moveTo>
                  <a:pt x="0" y="10215"/>
                </a:moveTo>
                <a:cubicBezTo>
                  <a:pt x="10656" y="-11385"/>
                  <a:pt x="21600" y="7982"/>
                  <a:pt x="21600" y="7982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</a:p>
        </p:txBody>
      </p:sp>
      <p:sp>
        <p:nvSpPr>
          <p:cNvPr id="99" name="任意多边形: 形状 98"/>
          <p:cNvSpPr/>
          <p:nvPr/>
        </p:nvSpPr>
        <p:spPr>
          <a:xfrm>
            <a:off x="7347490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100" name="任意多边形: 形状 99"/>
          <p:cNvSpPr/>
          <p:nvPr/>
        </p:nvSpPr>
        <p:spPr>
          <a:xfrm rot="3320891" flipH="1">
            <a:off x="6095904" y="2704393"/>
            <a:ext cx="2078486" cy="455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2462" extrusionOk="0">
                <a:moveTo>
                  <a:pt x="0" y="12462"/>
                </a:moveTo>
                <a:cubicBezTo>
                  <a:pt x="10552" y="-9138"/>
                  <a:pt x="21600" y="3901"/>
                  <a:pt x="21600" y="3901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</a:p>
        </p:txBody>
      </p:sp>
      <p:sp>
        <p:nvSpPr>
          <p:cNvPr id="101" name="任意多边形: 形状 100"/>
          <p:cNvSpPr/>
          <p:nvPr/>
        </p:nvSpPr>
        <p:spPr>
          <a:xfrm>
            <a:off x="1632006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102" name="任意多边形: 形状 101"/>
          <p:cNvSpPr/>
          <p:nvPr/>
        </p:nvSpPr>
        <p:spPr>
          <a:xfrm rot="20160000">
            <a:off x="1453094" y="2310999"/>
            <a:ext cx="4258941" cy="7730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0215" extrusionOk="0">
                <a:moveTo>
                  <a:pt x="0" y="10215"/>
                </a:moveTo>
                <a:cubicBezTo>
                  <a:pt x="10656" y="-11385"/>
                  <a:pt x="21600" y="7982"/>
                  <a:pt x="21600" y="7982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</a:p>
        </p:txBody>
      </p:sp>
      <p:sp>
        <p:nvSpPr>
          <p:cNvPr id="103" name="任意多边形: 形状 102"/>
          <p:cNvSpPr/>
          <p:nvPr/>
        </p:nvSpPr>
        <p:spPr>
          <a:xfrm>
            <a:off x="3060876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104" name="任意多边形: 形状 103"/>
          <p:cNvSpPr/>
          <p:nvPr/>
        </p:nvSpPr>
        <p:spPr>
          <a:xfrm rot="19377999">
            <a:off x="2762434" y="2525399"/>
            <a:ext cx="2996390" cy="5438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0215" extrusionOk="0">
                <a:moveTo>
                  <a:pt x="0" y="10215"/>
                </a:moveTo>
                <a:cubicBezTo>
                  <a:pt x="10656" y="-11385"/>
                  <a:pt x="21600" y="7982"/>
                  <a:pt x="21600" y="7982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</a:p>
        </p:txBody>
      </p:sp>
      <p:sp>
        <p:nvSpPr>
          <p:cNvPr id="105" name="任意多边形: 形状 104"/>
          <p:cNvSpPr/>
          <p:nvPr/>
        </p:nvSpPr>
        <p:spPr>
          <a:xfrm>
            <a:off x="4489747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106" name="任意多边形: 形状 105"/>
          <p:cNvSpPr/>
          <p:nvPr/>
        </p:nvSpPr>
        <p:spPr>
          <a:xfrm rot="18279109">
            <a:off x="4017611" y="2704393"/>
            <a:ext cx="2078486" cy="455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2462" extrusionOk="0">
                <a:moveTo>
                  <a:pt x="0" y="12462"/>
                </a:moveTo>
                <a:cubicBezTo>
                  <a:pt x="10552" y="-9138"/>
                  <a:pt x="21600" y="3901"/>
                  <a:pt x="21600" y="3901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</a:p>
        </p:txBody>
      </p:sp>
      <p:sp>
        <p:nvSpPr>
          <p:cNvPr id="107" name="任意多边形: 形状 106"/>
          <p:cNvSpPr/>
          <p:nvPr/>
        </p:nvSpPr>
        <p:spPr>
          <a:xfrm>
            <a:off x="5528923" y="1130300"/>
            <a:ext cx="1134154" cy="1270800"/>
          </a:xfrm>
          <a:custGeom>
            <a:avLst/>
            <a:gdLst>
              <a:gd name="T0" fmla="*/ 2003 w 2597"/>
              <a:gd name="T1" fmla="*/ 1085 h 2914"/>
              <a:gd name="T2" fmla="*/ 1796 w 2597"/>
              <a:gd name="T3" fmla="*/ 1305 h 2914"/>
              <a:gd name="T4" fmla="*/ 1608 w 2597"/>
              <a:gd name="T5" fmla="*/ 1588 h 2914"/>
              <a:gd name="T6" fmla="*/ 1490 w 2597"/>
              <a:gd name="T7" fmla="*/ 1660 h 2914"/>
              <a:gd name="T8" fmla="*/ 1298 w 2597"/>
              <a:gd name="T9" fmla="*/ 1696 h 2914"/>
              <a:gd name="T10" fmla="*/ 1107 w 2597"/>
              <a:gd name="T11" fmla="*/ 1660 h 2914"/>
              <a:gd name="T12" fmla="*/ 989 w 2597"/>
              <a:gd name="T13" fmla="*/ 1588 h 2914"/>
              <a:gd name="T14" fmla="*/ 801 w 2597"/>
              <a:gd name="T15" fmla="*/ 1305 h 2914"/>
              <a:gd name="T16" fmla="*/ 593 w 2597"/>
              <a:gd name="T17" fmla="*/ 1085 h 2914"/>
              <a:gd name="T18" fmla="*/ 611 w 2597"/>
              <a:gd name="T19" fmla="*/ 861 h 2914"/>
              <a:gd name="T20" fmla="*/ 665 w 2597"/>
              <a:gd name="T21" fmla="*/ 807 h 2914"/>
              <a:gd name="T22" fmla="*/ 668 w 2597"/>
              <a:gd name="T23" fmla="*/ 739 h 2914"/>
              <a:gd name="T24" fmla="*/ 646 w 2597"/>
              <a:gd name="T25" fmla="*/ 436 h 2914"/>
              <a:gd name="T26" fmla="*/ 900 w 2597"/>
              <a:gd name="T27" fmla="*/ 239 h 2914"/>
              <a:gd name="T28" fmla="*/ 1037 w 2597"/>
              <a:gd name="T29" fmla="*/ 90 h 2914"/>
              <a:gd name="T30" fmla="*/ 1338 w 2597"/>
              <a:gd name="T31" fmla="*/ 0 h 2914"/>
              <a:gd name="T32" fmla="*/ 1741 w 2597"/>
              <a:gd name="T33" fmla="*/ 141 h 2914"/>
              <a:gd name="T34" fmla="*/ 1922 w 2597"/>
              <a:gd name="T35" fmla="*/ 682 h 2914"/>
              <a:gd name="T36" fmla="*/ 1931 w 2597"/>
              <a:gd name="T37" fmla="*/ 807 h 2914"/>
              <a:gd name="T38" fmla="*/ 1985 w 2597"/>
              <a:gd name="T39" fmla="*/ 861 h 2914"/>
              <a:gd name="T40" fmla="*/ 2003 w 2597"/>
              <a:gd name="T41" fmla="*/ 1085 h 2914"/>
              <a:gd name="T42" fmla="*/ 2597 w 2597"/>
              <a:gd name="T43" fmla="*/ 2377 h 2914"/>
              <a:gd name="T44" fmla="*/ 2597 w 2597"/>
              <a:gd name="T45" fmla="*/ 2848 h 2914"/>
              <a:gd name="T46" fmla="*/ 2530 w 2597"/>
              <a:gd name="T47" fmla="*/ 2914 h 2914"/>
              <a:gd name="T48" fmla="*/ 66 w 2597"/>
              <a:gd name="T49" fmla="*/ 2914 h 2914"/>
              <a:gd name="T50" fmla="*/ 0 w 2597"/>
              <a:gd name="T51" fmla="*/ 2848 h 2914"/>
              <a:gd name="T52" fmla="*/ 0 w 2597"/>
              <a:gd name="T53" fmla="*/ 2377 h 2914"/>
              <a:gd name="T54" fmla="*/ 294 w 2597"/>
              <a:gd name="T55" fmla="*/ 1942 h 2914"/>
              <a:gd name="T56" fmla="*/ 877 w 2597"/>
              <a:gd name="T57" fmla="*/ 1709 h 2914"/>
              <a:gd name="T58" fmla="*/ 929 w 2597"/>
              <a:gd name="T59" fmla="*/ 1710 h 2914"/>
              <a:gd name="T60" fmla="*/ 965 w 2597"/>
              <a:gd name="T61" fmla="*/ 1748 h 2914"/>
              <a:gd name="T62" fmla="*/ 1111 w 2597"/>
              <a:gd name="T63" fmla="*/ 2153 h 2914"/>
              <a:gd name="T64" fmla="*/ 1140 w 2597"/>
              <a:gd name="T65" fmla="*/ 2070 h 2914"/>
              <a:gd name="T66" fmla="*/ 1094 w 2597"/>
              <a:gd name="T67" fmla="*/ 1957 h 2914"/>
              <a:gd name="T68" fmla="*/ 1101 w 2597"/>
              <a:gd name="T69" fmla="*/ 1895 h 2914"/>
              <a:gd name="T70" fmla="*/ 1156 w 2597"/>
              <a:gd name="T71" fmla="*/ 1865 h 2914"/>
              <a:gd name="T72" fmla="*/ 1441 w 2597"/>
              <a:gd name="T73" fmla="*/ 1865 h 2914"/>
              <a:gd name="T74" fmla="*/ 1496 w 2597"/>
              <a:gd name="T75" fmla="*/ 1895 h 2914"/>
              <a:gd name="T76" fmla="*/ 1502 w 2597"/>
              <a:gd name="T77" fmla="*/ 1957 h 2914"/>
              <a:gd name="T78" fmla="*/ 1456 w 2597"/>
              <a:gd name="T79" fmla="*/ 2070 h 2914"/>
              <a:gd name="T80" fmla="*/ 1485 w 2597"/>
              <a:gd name="T81" fmla="*/ 2153 h 2914"/>
              <a:gd name="T82" fmla="*/ 1632 w 2597"/>
              <a:gd name="T83" fmla="*/ 1748 h 2914"/>
              <a:gd name="T84" fmla="*/ 1667 w 2597"/>
              <a:gd name="T85" fmla="*/ 1710 h 2914"/>
              <a:gd name="T86" fmla="*/ 1719 w 2597"/>
              <a:gd name="T87" fmla="*/ 1709 h 2914"/>
              <a:gd name="T88" fmla="*/ 2302 w 2597"/>
              <a:gd name="T89" fmla="*/ 1942 h 2914"/>
              <a:gd name="T90" fmla="*/ 2597 w 2597"/>
              <a:gd name="T91" fmla="*/ 2377 h 2914"/>
              <a:gd name="T92" fmla="*/ 2242 w 2597"/>
              <a:gd name="T93" fmla="*/ 2428 h 2914"/>
              <a:gd name="T94" fmla="*/ 2175 w 2597"/>
              <a:gd name="T95" fmla="*/ 2362 h 2914"/>
              <a:gd name="T96" fmla="*/ 1727 w 2597"/>
              <a:gd name="T97" fmla="*/ 2362 h 2914"/>
              <a:gd name="T98" fmla="*/ 1661 w 2597"/>
              <a:gd name="T99" fmla="*/ 2428 h 2914"/>
              <a:gd name="T100" fmla="*/ 1661 w 2597"/>
              <a:gd name="T101" fmla="*/ 2636 h 2914"/>
              <a:gd name="T102" fmla="*/ 1727 w 2597"/>
              <a:gd name="T103" fmla="*/ 2703 h 2914"/>
              <a:gd name="T104" fmla="*/ 2175 w 2597"/>
              <a:gd name="T105" fmla="*/ 2703 h 2914"/>
              <a:gd name="T106" fmla="*/ 2242 w 2597"/>
              <a:gd name="T107" fmla="*/ 2636 h 2914"/>
              <a:gd name="T108" fmla="*/ 2242 w 2597"/>
              <a:gd name="T109" fmla="*/ 2428 h 2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97" h="2914">
                <a:moveTo>
                  <a:pt x="2003" y="1085"/>
                </a:moveTo>
                <a:cubicBezTo>
                  <a:pt x="1958" y="1259"/>
                  <a:pt x="1852" y="1297"/>
                  <a:pt x="1796" y="1305"/>
                </a:cubicBezTo>
                <a:cubicBezTo>
                  <a:pt x="1761" y="1374"/>
                  <a:pt x="1684" y="1516"/>
                  <a:pt x="1608" y="1588"/>
                </a:cubicBezTo>
                <a:cubicBezTo>
                  <a:pt x="1577" y="1616"/>
                  <a:pt x="1538" y="1641"/>
                  <a:pt x="1490" y="1660"/>
                </a:cubicBezTo>
                <a:cubicBezTo>
                  <a:pt x="1429" y="1684"/>
                  <a:pt x="1364" y="1696"/>
                  <a:pt x="1298" y="1696"/>
                </a:cubicBezTo>
                <a:cubicBezTo>
                  <a:pt x="1232" y="1696"/>
                  <a:pt x="1168" y="1684"/>
                  <a:pt x="1107" y="1660"/>
                </a:cubicBezTo>
                <a:cubicBezTo>
                  <a:pt x="1059" y="1641"/>
                  <a:pt x="1019" y="1616"/>
                  <a:pt x="989" y="1588"/>
                </a:cubicBezTo>
                <a:cubicBezTo>
                  <a:pt x="912" y="1516"/>
                  <a:pt x="836" y="1374"/>
                  <a:pt x="801" y="1305"/>
                </a:cubicBezTo>
                <a:cubicBezTo>
                  <a:pt x="744" y="1297"/>
                  <a:pt x="638" y="1259"/>
                  <a:pt x="593" y="1085"/>
                </a:cubicBezTo>
                <a:cubicBezTo>
                  <a:pt x="569" y="993"/>
                  <a:pt x="575" y="917"/>
                  <a:pt x="611" y="861"/>
                </a:cubicBezTo>
                <a:cubicBezTo>
                  <a:pt x="628" y="836"/>
                  <a:pt x="647" y="819"/>
                  <a:pt x="665" y="807"/>
                </a:cubicBezTo>
                <a:cubicBezTo>
                  <a:pt x="665" y="789"/>
                  <a:pt x="666" y="765"/>
                  <a:pt x="668" y="739"/>
                </a:cubicBezTo>
                <a:cubicBezTo>
                  <a:pt x="636" y="693"/>
                  <a:pt x="591" y="595"/>
                  <a:pt x="646" y="436"/>
                </a:cubicBezTo>
                <a:cubicBezTo>
                  <a:pt x="705" y="267"/>
                  <a:pt x="837" y="241"/>
                  <a:pt x="900" y="239"/>
                </a:cubicBezTo>
                <a:cubicBezTo>
                  <a:pt x="922" y="199"/>
                  <a:pt x="963" y="142"/>
                  <a:pt x="1037" y="90"/>
                </a:cubicBezTo>
                <a:cubicBezTo>
                  <a:pt x="1119" y="32"/>
                  <a:pt x="1226" y="0"/>
                  <a:pt x="1338" y="0"/>
                </a:cubicBezTo>
                <a:cubicBezTo>
                  <a:pt x="1477" y="0"/>
                  <a:pt x="1616" y="49"/>
                  <a:pt x="1741" y="141"/>
                </a:cubicBezTo>
                <a:cubicBezTo>
                  <a:pt x="1944" y="290"/>
                  <a:pt x="1926" y="622"/>
                  <a:pt x="1922" y="682"/>
                </a:cubicBezTo>
                <a:cubicBezTo>
                  <a:pt x="1929" y="732"/>
                  <a:pt x="1931" y="776"/>
                  <a:pt x="1931" y="807"/>
                </a:cubicBezTo>
                <a:cubicBezTo>
                  <a:pt x="1949" y="819"/>
                  <a:pt x="1969" y="836"/>
                  <a:pt x="1985" y="861"/>
                </a:cubicBezTo>
                <a:cubicBezTo>
                  <a:pt x="2021" y="917"/>
                  <a:pt x="2028" y="993"/>
                  <a:pt x="2003" y="1085"/>
                </a:cubicBezTo>
                <a:close/>
                <a:moveTo>
                  <a:pt x="2597" y="2377"/>
                </a:moveTo>
                <a:lnTo>
                  <a:pt x="2597" y="2848"/>
                </a:lnTo>
                <a:cubicBezTo>
                  <a:pt x="2597" y="2885"/>
                  <a:pt x="2567" y="2914"/>
                  <a:pt x="2530" y="2914"/>
                </a:cubicBezTo>
                <a:lnTo>
                  <a:pt x="66" y="2914"/>
                </a:lnTo>
                <a:cubicBezTo>
                  <a:pt x="30" y="2914"/>
                  <a:pt x="0" y="2885"/>
                  <a:pt x="0" y="2848"/>
                </a:cubicBezTo>
                <a:lnTo>
                  <a:pt x="0" y="2377"/>
                </a:lnTo>
                <a:cubicBezTo>
                  <a:pt x="0" y="2184"/>
                  <a:pt x="115" y="2014"/>
                  <a:pt x="294" y="1942"/>
                </a:cubicBezTo>
                <a:lnTo>
                  <a:pt x="877" y="1709"/>
                </a:lnTo>
                <a:cubicBezTo>
                  <a:pt x="894" y="1702"/>
                  <a:pt x="913" y="1703"/>
                  <a:pt x="929" y="1710"/>
                </a:cubicBezTo>
                <a:cubicBezTo>
                  <a:pt x="946" y="1717"/>
                  <a:pt x="959" y="1731"/>
                  <a:pt x="965" y="1748"/>
                </a:cubicBezTo>
                <a:lnTo>
                  <a:pt x="1111" y="2153"/>
                </a:lnTo>
                <a:lnTo>
                  <a:pt x="1140" y="2070"/>
                </a:lnTo>
                <a:lnTo>
                  <a:pt x="1094" y="1957"/>
                </a:lnTo>
                <a:cubicBezTo>
                  <a:pt x="1086" y="1936"/>
                  <a:pt x="1088" y="1913"/>
                  <a:pt x="1101" y="1895"/>
                </a:cubicBezTo>
                <a:cubicBezTo>
                  <a:pt x="1113" y="1876"/>
                  <a:pt x="1134" y="1865"/>
                  <a:pt x="1156" y="1865"/>
                </a:cubicBezTo>
                <a:lnTo>
                  <a:pt x="1441" y="1865"/>
                </a:lnTo>
                <a:cubicBezTo>
                  <a:pt x="1463" y="1865"/>
                  <a:pt x="1484" y="1876"/>
                  <a:pt x="1496" y="1895"/>
                </a:cubicBezTo>
                <a:cubicBezTo>
                  <a:pt x="1508" y="1913"/>
                  <a:pt x="1511" y="1936"/>
                  <a:pt x="1502" y="1957"/>
                </a:cubicBezTo>
                <a:lnTo>
                  <a:pt x="1456" y="2070"/>
                </a:lnTo>
                <a:lnTo>
                  <a:pt x="1485" y="2153"/>
                </a:lnTo>
                <a:lnTo>
                  <a:pt x="1632" y="1748"/>
                </a:lnTo>
                <a:cubicBezTo>
                  <a:pt x="1638" y="1731"/>
                  <a:pt x="1651" y="1717"/>
                  <a:pt x="1667" y="1710"/>
                </a:cubicBezTo>
                <a:cubicBezTo>
                  <a:pt x="1684" y="1703"/>
                  <a:pt x="1702" y="1702"/>
                  <a:pt x="1719" y="1709"/>
                </a:cubicBezTo>
                <a:lnTo>
                  <a:pt x="2302" y="1942"/>
                </a:lnTo>
                <a:cubicBezTo>
                  <a:pt x="2481" y="2014"/>
                  <a:pt x="2597" y="2184"/>
                  <a:pt x="2597" y="2377"/>
                </a:cubicBezTo>
                <a:close/>
                <a:moveTo>
                  <a:pt x="2242" y="2428"/>
                </a:moveTo>
                <a:cubicBezTo>
                  <a:pt x="2242" y="2392"/>
                  <a:pt x="2212" y="2362"/>
                  <a:pt x="2175" y="2362"/>
                </a:cubicBezTo>
                <a:lnTo>
                  <a:pt x="1727" y="2362"/>
                </a:lnTo>
                <a:cubicBezTo>
                  <a:pt x="1691" y="2362"/>
                  <a:pt x="1661" y="2392"/>
                  <a:pt x="1661" y="2428"/>
                </a:cubicBezTo>
                <a:lnTo>
                  <a:pt x="1661" y="2636"/>
                </a:lnTo>
                <a:cubicBezTo>
                  <a:pt x="1661" y="2673"/>
                  <a:pt x="1691" y="2703"/>
                  <a:pt x="1727" y="2703"/>
                </a:cubicBezTo>
                <a:lnTo>
                  <a:pt x="2175" y="2703"/>
                </a:lnTo>
                <a:cubicBezTo>
                  <a:pt x="2212" y="2703"/>
                  <a:pt x="2242" y="2673"/>
                  <a:pt x="2242" y="2636"/>
                </a:cubicBezTo>
                <a:lnTo>
                  <a:pt x="2242" y="2428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128" name="矩形 127"/>
          <p:cNvSpPr/>
          <p:nvPr/>
        </p:nvSpPr>
        <p:spPr bwMode="auto">
          <a:xfrm>
            <a:off x="1105338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30000"/>
              </a:lnSpc>
              <a:spcBef>
                <a:spcPct val="0"/>
              </a:spcBef>
            </a:pPr>
            <a:r>
              <a:rPr lang="zh-CN" altLang="en-US" sz="1050" dirty="0"/>
              <a:t>需要支持</a:t>
            </a:r>
            <a:r>
              <a:rPr lang="en-US" altLang="zh-CN" sz="1050" dirty="0"/>
              <a:t>A</a:t>
            </a:r>
            <a:r>
              <a:rPr lang="zh-CN" altLang="en-US" sz="1050" dirty="0"/>
              <a:t>模块、</a:t>
            </a:r>
            <a:r>
              <a:rPr lang="en-US" altLang="zh-CN" sz="1050" dirty="0"/>
              <a:t>B</a:t>
            </a:r>
            <a:r>
              <a:rPr lang="zh-CN" altLang="en-US" sz="1050" dirty="0"/>
              <a:t>模块区分功能限制授权</a:t>
            </a:r>
            <a:endParaRPr lang="zh-CN" altLang="en-US" sz="1050" dirty="0"/>
          </a:p>
        </p:txBody>
      </p:sp>
      <p:sp>
        <p:nvSpPr>
          <p:cNvPr id="129" name="文本框 128"/>
          <p:cNvSpPr txBox="1"/>
          <p:nvPr/>
        </p:nvSpPr>
        <p:spPr bwMode="auto">
          <a:xfrm>
            <a:off x="1105338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600" b="1" dirty="0"/>
              <a:t>软件产品</a:t>
            </a:r>
            <a:r>
              <a:rPr lang="en-US" altLang="zh-CN" sz="1600" b="1" dirty="0"/>
              <a:t>A</a:t>
            </a:r>
            <a:endParaRPr lang="en-US" altLang="zh-CN" sz="1600" b="1" dirty="0"/>
          </a:p>
        </p:txBody>
      </p:sp>
      <p:sp>
        <p:nvSpPr>
          <p:cNvPr id="126" name="矩形 125"/>
          <p:cNvSpPr/>
          <p:nvPr/>
        </p:nvSpPr>
        <p:spPr bwMode="auto">
          <a:xfrm>
            <a:off x="9678566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050" dirty="0">
                <a:sym typeface="+mn-ea"/>
              </a:rPr>
              <a:t>……</a:t>
            </a:r>
            <a:endParaRPr lang="en-US" altLang="zh-CN" sz="1050" dirty="0"/>
          </a:p>
        </p:txBody>
      </p:sp>
      <p:sp>
        <p:nvSpPr>
          <p:cNvPr id="127" name="文本框 126"/>
          <p:cNvSpPr txBox="1"/>
          <p:nvPr/>
        </p:nvSpPr>
        <p:spPr bwMode="auto">
          <a:xfrm>
            <a:off x="9678566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600" b="1" dirty="0">
                <a:sym typeface="+mn-ea"/>
              </a:rPr>
              <a:t>软件产品</a:t>
            </a:r>
            <a:r>
              <a:rPr lang="en-US" altLang="zh-CN" sz="1600" b="1" dirty="0">
                <a:sym typeface="+mn-ea"/>
              </a:rPr>
              <a:t>XX</a:t>
            </a:r>
            <a:endParaRPr lang="en-US" altLang="zh-CN" sz="1600" b="1" dirty="0">
              <a:sym typeface="+mn-ea"/>
            </a:endParaRPr>
          </a:p>
        </p:txBody>
      </p:sp>
      <p:sp>
        <p:nvSpPr>
          <p:cNvPr id="124" name="矩形 123"/>
          <p:cNvSpPr/>
          <p:nvPr/>
        </p:nvSpPr>
        <p:spPr bwMode="auto">
          <a:xfrm>
            <a:off x="2534209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30000"/>
              </a:lnSpc>
              <a:spcBef>
                <a:spcPct val="0"/>
              </a:spcBef>
            </a:pPr>
            <a:r>
              <a:rPr lang="zh-CN" altLang="en-US" sz="1050" dirty="0"/>
              <a:t>需要支持不同模块有不同的过期</a:t>
            </a:r>
            <a:r>
              <a:rPr lang="zh-CN" altLang="en-US" sz="1050" dirty="0"/>
              <a:t>时间</a:t>
            </a:r>
            <a:endParaRPr lang="zh-CN" altLang="en-US" sz="1050" dirty="0"/>
          </a:p>
        </p:txBody>
      </p:sp>
      <p:sp>
        <p:nvSpPr>
          <p:cNvPr id="125" name="文本框 124"/>
          <p:cNvSpPr txBox="1"/>
          <p:nvPr/>
        </p:nvSpPr>
        <p:spPr bwMode="auto">
          <a:xfrm>
            <a:off x="2534209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600" b="1" dirty="0">
                <a:sym typeface="+mn-ea"/>
              </a:rPr>
              <a:t>软件产品</a:t>
            </a:r>
            <a:r>
              <a:rPr lang="en-US" altLang="zh-CN" sz="1600" b="1" dirty="0">
                <a:sym typeface="+mn-ea"/>
              </a:rPr>
              <a:t>B</a:t>
            </a:r>
            <a:endParaRPr lang="en-US" altLang="zh-CN" sz="1600" b="1" dirty="0">
              <a:sym typeface="+mn-ea"/>
            </a:endParaRPr>
          </a:p>
        </p:txBody>
      </p:sp>
      <p:sp>
        <p:nvSpPr>
          <p:cNvPr id="122" name="矩形 121"/>
          <p:cNvSpPr/>
          <p:nvPr/>
        </p:nvSpPr>
        <p:spPr bwMode="auto">
          <a:xfrm>
            <a:off x="3963080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30000"/>
              </a:lnSpc>
              <a:spcBef>
                <a:spcPct val="0"/>
              </a:spcBef>
            </a:pPr>
            <a:r>
              <a:rPr lang="zh-CN" altLang="en-US" sz="1050" dirty="0"/>
              <a:t>需要限制使用用户数</a:t>
            </a:r>
            <a:r>
              <a:rPr lang="en-US" altLang="zh-CN" sz="1050" dirty="0"/>
              <a:t> </a:t>
            </a:r>
            <a:endParaRPr lang="en-US" altLang="zh-CN" sz="1050" dirty="0"/>
          </a:p>
        </p:txBody>
      </p:sp>
      <p:sp>
        <p:nvSpPr>
          <p:cNvPr id="123" name="文本框 122"/>
          <p:cNvSpPr txBox="1"/>
          <p:nvPr/>
        </p:nvSpPr>
        <p:spPr bwMode="auto">
          <a:xfrm>
            <a:off x="3963080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600" b="1" dirty="0">
                <a:sym typeface="+mn-ea"/>
              </a:rPr>
              <a:t>软件产品</a:t>
            </a:r>
            <a:r>
              <a:rPr lang="en-US" altLang="zh-CN" sz="1600" b="1" dirty="0">
                <a:sym typeface="+mn-ea"/>
              </a:rPr>
              <a:t>C</a:t>
            </a:r>
            <a:endParaRPr lang="en-US" altLang="zh-CN" sz="1600" b="1" dirty="0">
              <a:sym typeface="+mn-ea"/>
            </a:endParaRPr>
          </a:p>
        </p:txBody>
      </p:sp>
      <p:sp>
        <p:nvSpPr>
          <p:cNvPr id="120" name="矩形 119"/>
          <p:cNvSpPr/>
          <p:nvPr/>
        </p:nvSpPr>
        <p:spPr bwMode="auto">
          <a:xfrm>
            <a:off x="5391951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30000"/>
              </a:lnSpc>
              <a:spcBef>
                <a:spcPct val="0"/>
              </a:spcBef>
            </a:pPr>
            <a:r>
              <a:rPr lang="zh-CN" altLang="en-US" sz="1050" dirty="0">
                <a:sym typeface="+mn-ea"/>
              </a:rPr>
              <a:t>有多个模块，但是和</a:t>
            </a:r>
            <a:r>
              <a:rPr lang="en-US" altLang="zh-CN" sz="1050" dirty="0">
                <a:sym typeface="+mn-ea"/>
              </a:rPr>
              <a:t>A</a:t>
            </a:r>
            <a:r>
              <a:rPr lang="zh-CN" altLang="en-US" sz="1050" dirty="0">
                <a:sym typeface="+mn-ea"/>
              </a:rPr>
              <a:t>不同，我按照初级版、专业版区分</a:t>
            </a:r>
            <a:r>
              <a:rPr lang="en-US" altLang="zh-CN" sz="1050" dirty="0">
                <a:sym typeface="+mn-ea"/>
              </a:rPr>
              <a:t> </a:t>
            </a:r>
            <a:endParaRPr lang="en-US" altLang="zh-CN" sz="1050" dirty="0"/>
          </a:p>
        </p:txBody>
      </p:sp>
      <p:sp>
        <p:nvSpPr>
          <p:cNvPr id="121" name="文本框 120"/>
          <p:cNvSpPr txBox="1"/>
          <p:nvPr/>
        </p:nvSpPr>
        <p:spPr bwMode="auto">
          <a:xfrm>
            <a:off x="5391951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600" b="1" dirty="0">
                <a:sym typeface="+mn-ea"/>
              </a:rPr>
              <a:t>软件产品</a:t>
            </a:r>
            <a:r>
              <a:rPr lang="en-US" altLang="zh-CN" sz="1600" b="1" dirty="0">
                <a:sym typeface="+mn-ea"/>
              </a:rPr>
              <a:t>D</a:t>
            </a:r>
            <a:endParaRPr lang="en-US" altLang="zh-CN" sz="1600" b="1" dirty="0">
              <a:sym typeface="+mn-ea"/>
            </a:endParaRPr>
          </a:p>
        </p:txBody>
      </p:sp>
      <p:sp>
        <p:nvSpPr>
          <p:cNvPr id="118" name="矩形 117"/>
          <p:cNvSpPr/>
          <p:nvPr/>
        </p:nvSpPr>
        <p:spPr bwMode="auto">
          <a:xfrm>
            <a:off x="6820822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30000"/>
              </a:lnSpc>
              <a:spcBef>
                <a:spcPct val="0"/>
              </a:spcBef>
            </a:pPr>
            <a:r>
              <a:rPr lang="zh-CN" altLang="en-US" sz="1050" dirty="0">
                <a:sym typeface="+mn-ea"/>
              </a:rPr>
              <a:t>需要限制不同平台接入的使用用户数</a:t>
            </a:r>
            <a:r>
              <a:rPr lang="en-US" altLang="zh-CN" sz="1050" dirty="0">
                <a:sym typeface="+mn-ea"/>
              </a:rPr>
              <a:t> </a:t>
            </a:r>
            <a:endParaRPr lang="en-US" altLang="zh-CN" sz="1050" dirty="0"/>
          </a:p>
        </p:txBody>
      </p:sp>
      <p:sp>
        <p:nvSpPr>
          <p:cNvPr id="119" name="文本框 118"/>
          <p:cNvSpPr txBox="1"/>
          <p:nvPr/>
        </p:nvSpPr>
        <p:spPr bwMode="auto">
          <a:xfrm>
            <a:off x="6820822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600" b="1" dirty="0">
                <a:sym typeface="+mn-ea"/>
              </a:rPr>
              <a:t>软件产品</a:t>
            </a:r>
            <a:r>
              <a:rPr lang="en-US" altLang="zh-CN" sz="1600" b="1" dirty="0">
                <a:sym typeface="+mn-ea"/>
              </a:rPr>
              <a:t>E</a:t>
            </a:r>
            <a:endParaRPr lang="en-US" altLang="zh-CN" sz="1600" b="1" dirty="0">
              <a:sym typeface="+mn-ea"/>
            </a:endParaRPr>
          </a:p>
        </p:txBody>
      </p:sp>
      <p:sp>
        <p:nvSpPr>
          <p:cNvPr id="116" name="矩形 115"/>
          <p:cNvSpPr/>
          <p:nvPr/>
        </p:nvSpPr>
        <p:spPr bwMode="auto">
          <a:xfrm>
            <a:off x="8249693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30000"/>
              </a:lnSpc>
              <a:spcBef>
                <a:spcPct val="0"/>
              </a:spcBef>
            </a:pPr>
            <a:r>
              <a:rPr lang="zh-CN" altLang="en-US" sz="1050" dirty="0"/>
              <a:t>授权情况复杂，前面的方式</a:t>
            </a:r>
            <a:r>
              <a:rPr lang="zh-CN" altLang="en-US" sz="1050" dirty="0"/>
              <a:t>我都要</a:t>
            </a:r>
            <a:endParaRPr lang="zh-CN" altLang="en-US" sz="1050" dirty="0"/>
          </a:p>
        </p:txBody>
      </p:sp>
      <p:sp>
        <p:nvSpPr>
          <p:cNvPr id="117" name="文本框 116"/>
          <p:cNvSpPr txBox="1"/>
          <p:nvPr/>
        </p:nvSpPr>
        <p:spPr bwMode="auto">
          <a:xfrm>
            <a:off x="8249693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600" b="1" dirty="0">
                <a:sym typeface="+mn-ea"/>
              </a:rPr>
              <a:t>软件产品</a:t>
            </a:r>
            <a:r>
              <a:rPr lang="en-US" altLang="zh-CN" sz="1600" b="1" dirty="0">
                <a:sym typeface="+mn-ea"/>
              </a:rPr>
              <a:t>D</a:t>
            </a:r>
            <a:endParaRPr lang="en-US" altLang="zh-CN" sz="1600" b="1" dirty="0"/>
          </a:p>
        </p:txBody>
      </p:sp>
      <p:sp>
        <p:nvSpPr>
          <p:cNvPr id="115" name="带形: 上凸 114"/>
          <p:cNvSpPr/>
          <p:nvPr/>
        </p:nvSpPr>
        <p:spPr>
          <a:xfrm>
            <a:off x="5150729" y="2438761"/>
            <a:ext cx="1890544" cy="448056"/>
          </a:xfrm>
          <a:prstGeom prst="ribbon2">
            <a:avLst>
              <a:gd name="adj1" fmla="val 16667"/>
              <a:gd name="adj2" fmla="val 687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zh-CN" altLang="en-US" sz="1600" b="1" i="1" dirty="0">
                <a:solidFill>
                  <a:schemeClr val="tx1"/>
                </a:solidFill>
              </a:rPr>
              <a:t>开发</a:t>
            </a:r>
            <a:r>
              <a:rPr lang="zh-CN" altLang="en-US" sz="1600" b="1" i="1" dirty="0">
                <a:solidFill>
                  <a:schemeClr val="tx1"/>
                </a:solidFill>
              </a:rPr>
              <a:t>人员</a:t>
            </a:r>
            <a:endParaRPr lang="zh-CN" altLang="en-US" sz="1600" b="1" i="1" dirty="0">
              <a:solidFill>
                <a:schemeClr val="tx1"/>
              </a:solidFill>
            </a:endParaRPr>
          </a:p>
        </p:txBody>
      </p:sp>
      <p:sp>
        <p:nvSpPr>
          <p:cNvPr id="5" name="任意多边形: 形状 106"/>
          <p:cNvSpPr/>
          <p:nvPr/>
        </p:nvSpPr>
        <p:spPr>
          <a:xfrm>
            <a:off x="5918813" y="1145540"/>
            <a:ext cx="1134154" cy="1270800"/>
          </a:xfrm>
          <a:custGeom>
            <a:avLst/>
            <a:gdLst>
              <a:gd name="T0" fmla="*/ 2003 w 2597"/>
              <a:gd name="T1" fmla="*/ 1085 h 2914"/>
              <a:gd name="T2" fmla="*/ 1796 w 2597"/>
              <a:gd name="T3" fmla="*/ 1305 h 2914"/>
              <a:gd name="T4" fmla="*/ 1608 w 2597"/>
              <a:gd name="T5" fmla="*/ 1588 h 2914"/>
              <a:gd name="T6" fmla="*/ 1490 w 2597"/>
              <a:gd name="T7" fmla="*/ 1660 h 2914"/>
              <a:gd name="T8" fmla="*/ 1298 w 2597"/>
              <a:gd name="T9" fmla="*/ 1696 h 2914"/>
              <a:gd name="T10" fmla="*/ 1107 w 2597"/>
              <a:gd name="T11" fmla="*/ 1660 h 2914"/>
              <a:gd name="T12" fmla="*/ 989 w 2597"/>
              <a:gd name="T13" fmla="*/ 1588 h 2914"/>
              <a:gd name="T14" fmla="*/ 801 w 2597"/>
              <a:gd name="T15" fmla="*/ 1305 h 2914"/>
              <a:gd name="T16" fmla="*/ 593 w 2597"/>
              <a:gd name="T17" fmla="*/ 1085 h 2914"/>
              <a:gd name="T18" fmla="*/ 611 w 2597"/>
              <a:gd name="T19" fmla="*/ 861 h 2914"/>
              <a:gd name="T20" fmla="*/ 665 w 2597"/>
              <a:gd name="T21" fmla="*/ 807 h 2914"/>
              <a:gd name="T22" fmla="*/ 668 w 2597"/>
              <a:gd name="T23" fmla="*/ 739 h 2914"/>
              <a:gd name="T24" fmla="*/ 646 w 2597"/>
              <a:gd name="T25" fmla="*/ 436 h 2914"/>
              <a:gd name="T26" fmla="*/ 900 w 2597"/>
              <a:gd name="T27" fmla="*/ 239 h 2914"/>
              <a:gd name="T28" fmla="*/ 1037 w 2597"/>
              <a:gd name="T29" fmla="*/ 90 h 2914"/>
              <a:gd name="T30" fmla="*/ 1338 w 2597"/>
              <a:gd name="T31" fmla="*/ 0 h 2914"/>
              <a:gd name="T32" fmla="*/ 1741 w 2597"/>
              <a:gd name="T33" fmla="*/ 141 h 2914"/>
              <a:gd name="T34" fmla="*/ 1922 w 2597"/>
              <a:gd name="T35" fmla="*/ 682 h 2914"/>
              <a:gd name="T36" fmla="*/ 1931 w 2597"/>
              <a:gd name="T37" fmla="*/ 807 h 2914"/>
              <a:gd name="T38" fmla="*/ 1985 w 2597"/>
              <a:gd name="T39" fmla="*/ 861 h 2914"/>
              <a:gd name="T40" fmla="*/ 2003 w 2597"/>
              <a:gd name="T41" fmla="*/ 1085 h 2914"/>
              <a:gd name="T42" fmla="*/ 2597 w 2597"/>
              <a:gd name="T43" fmla="*/ 2377 h 2914"/>
              <a:gd name="T44" fmla="*/ 2597 w 2597"/>
              <a:gd name="T45" fmla="*/ 2848 h 2914"/>
              <a:gd name="T46" fmla="*/ 2530 w 2597"/>
              <a:gd name="T47" fmla="*/ 2914 h 2914"/>
              <a:gd name="T48" fmla="*/ 66 w 2597"/>
              <a:gd name="T49" fmla="*/ 2914 h 2914"/>
              <a:gd name="T50" fmla="*/ 0 w 2597"/>
              <a:gd name="T51" fmla="*/ 2848 h 2914"/>
              <a:gd name="T52" fmla="*/ 0 w 2597"/>
              <a:gd name="T53" fmla="*/ 2377 h 2914"/>
              <a:gd name="T54" fmla="*/ 294 w 2597"/>
              <a:gd name="T55" fmla="*/ 1942 h 2914"/>
              <a:gd name="T56" fmla="*/ 877 w 2597"/>
              <a:gd name="T57" fmla="*/ 1709 h 2914"/>
              <a:gd name="T58" fmla="*/ 929 w 2597"/>
              <a:gd name="T59" fmla="*/ 1710 h 2914"/>
              <a:gd name="T60" fmla="*/ 965 w 2597"/>
              <a:gd name="T61" fmla="*/ 1748 h 2914"/>
              <a:gd name="T62" fmla="*/ 1111 w 2597"/>
              <a:gd name="T63" fmla="*/ 2153 h 2914"/>
              <a:gd name="T64" fmla="*/ 1140 w 2597"/>
              <a:gd name="T65" fmla="*/ 2070 h 2914"/>
              <a:gd name="T66" fmla="*/ 1094 w 2597"/>
              <a:gd name="T67" fmla="*/ 1957 h 2914"/>
              <a:gd name="T68" fmla="*/ 1101 w 2597"/>
              <a:gd name="T69" fmla="*/ 1895 h 2914"/>
              <a:gd name="T70" fmla="*/ 1156 w 2597"/>
              <a:gd name="T71" fmla="*/ 1865 h 2914"/>
              <a:gd name="T72" fmla="*/ 1441 w 2597"/>
              <a:gd name="T73" fmla="*/ 1865 h 2914"/>
              <a:gd name="T74" fmla="*/ 1496 w 2597"/>
              <a:gd name="T75" fmla="*/ 1895 h 2914"/>
              <a:gd name="T76" fmla="*/ 1502 w 2597"/>
              <a:gd name="T77" fmla="*/ 1957 h 2914"/>
              <a:gd name="T78" fmla="*/ 1456 w 2597"/>
              <a:gd name="T79" fmla="*/ 2070 h 2914"/>
              <a:gd name="T80" fmla="*/ 1485 w 2597"/>
              <a:gd name="T81" fmla="*/ 2153 h 2914"/>
              <a:gd name="T82" fmla="*/ 1632 w 2597"/>
              <a:gd name="T83" fmla="*/ 1748 h 2914"/>
              <a:gd name="T84" fmla="*/ 1667 w 2597"/>
              <a:gd name="T85" fmla="*/ 1710 h 2914"/>
              <a:gd name="T86" fmla="*/ 1719 w 2597"/>
              <a:gd name="T87" fmla="*/ 1709 h 2914"/>
              <a:gd name="T88" fmla="*/ 2302 w 2597"/>
              <a:gd name="T89" fmla="*/ 1942 h 2914"/>
              <a:gd name="T90" fmla="*/ 2597 w 2597"/>
              <a:gd name="T91" fmla="*/ 2377 h 2914"/>
              <a:gd name="T92" fmla="*/ 2242 w 2597"/>
              <a:gd name="T93" fmla="*/ 2428 h 2914"/>
              <a:gd name="T94" fmla="*/ 2175 w 2597"/>
              <a:gd name="T95" fmla="*/ 2362 h 2914"/>
              <a:gd name="T96" fmla="*/ 1727 w 2597"/>
              <a:gd name="T97" fmla="*/ 2362 h 2914"/>
              <a:gd name="T98" fmla="*/ 1661 w 2597"/>
              <a:gd name="T99" fmla="*/ 2428 h 2914"/>
              <a:gd name="T100" fmla="*/ 1661 w 2597"/>
              <a:gd name="T101" fmla="*/ 2636 h 2914"/>
              <a:gd name="T102" fmla="*/ 1727 w 2597"/>
              <a:gd name="T103" fmla="*/ 2703 h 2914"/>
              <a:gd name="T104" fmla="*/ 2175 w 2597"/>
              <a:gd name="T105" fmla="*/ 2703 h 2914"/>
              <a:gd name="T106" fmla="*/ 2242 w 2597"/>
              <a:gd name="T107" fmla="*/ 2636 h 2914"/>
              <a:gd name="T108" fmla="*/ 2242 w 2597"/>
              <a:gd name="T109" fmla="*/ 2428 h 2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97" h="2914">
                <a:moveTo>
                  <a:pt x="2003" y="1085"/>
                </a:moveTo>
                <a:cubicBezTo>
                  <a:pt x="1958" y="1259"/>
                  <a:pt x="1852" y="1297"/>
                  <a:pt x="1796" y="1305"/>
                </a:cubicBezTo>
                <a:cubicBezTo>
                  <a:pt x="1761" y="1374"/>
                  <a:pt x="1684" y="1516"/>
                  <a:pt x="1608" y="1588"/>
                </a:cubicBezTo>
                <a:cubicBezTo>
                  <a:pt x="1577" y="1616"/>
                  <a:pt x="1538" y="1641"/>
                  <a:pt x="1490" y="1660"/>
                </a:cubicBezTo>
                <a:cubicBezTo>
                  <a:pt x="1429" y="1684"/>
                  <a:pt x="1364" y="1696"/>
                  <a:pt x="1298" y="1696"/>
                </a:cubicBezTo>
                <a:cubicBezTo>
                  <a:pt x="1232" y="1696"/>
                  <a:pt x="1168" y="1684"/>
                  <a:pt x="1107" y="1660"/>
                </a:cubicBezTo>
                <a:cubicBezTo>
                  <a:pt x="1059" y="1641"/>
                  <a:pt x="1019" y="1616"/>
                  <a:pt x="989" y="1588"/>
                </a:cubicBezTo>
                <a:cubicBezTo>
                  <a:pt x="912" y="1516"/>
                  <a:pt x="836" y="1374"/>
                  <a:pt x="801" y="1305"/>
                </a:cubicBezTo>
                <a:cubicBezTo>
                  <a:pt x="744" y="1297"/>
                  <a:pt x="638" y="1259"/>
                  <a:pt x="593" y="1085"/>
                </a:cubicBezTo>
                <a:cubicBezTo>
                  <a:pt x="569" y="993"/>
                  <a:pt x="575" y="917"/>
                  <a:pt x="611" y="861"/>
                </a:cubicBezTo>
                <a:cubicBezTo>
                  <a:pt x="628" y="836"/>
                  <a:pt x="647" y="819"/>
                  <a:pt x="665" y="807"/>
                </a:cubicBezTo>
                <a:cubicBezTo>
                  <a:pt x="665" y="789"/>
                  <a:pt x="666" y="765"/>
                  <a:pt x="668" y="739"/>
                </a:cubicBezTo>
                <a:cubicBezTo>
                  <a:pt x="636" y="693"/>
                  <a:pt x="591" y="595"/>
                  <a:pt x="646" y="436"/>
                </a:cubicBezTo>
                <a:cubicBezTo>
                  <a:pt x="705" y="267"/>
                  <a:pt x="837" y="241"/>
                  <a:pt x="900" y="239"/>
                </a:cubicBezTo>
                <a:cubicBezTo>
                  <a:pt x="922" y="199"/>
                  <a:pt x="963" y="142"/>
                  <a:pt x="1037" y="90"/>
                </a:cubicBezTo>
                <a:cubicBezTo>
                  <a:pt x="1119" y="32"/>
                  <a:pt x="1226" y="0"/>
                  <a:pt x="1338" y="0"/>
                </a:cubicBezTo>
                <a:cubicBezTo>
                  <a:pt x="1477" y="0"/>
                  <a:pt x="1616" y="49"/>
                  <a:pt x="1741" y="141"/>
                </a:cubicBezTo>
                <a:cubicBezTo>
                  <a:pt x="1944" y="290"/>
                  <a:pt x="1926" y="622"/>
                  <a:pt x="1922" y="682"/>
                </a:cubicBezTo>
                <a:cubicBezTo>
                  <a:pt x="1929" y="732"/>
                  <a:pt x="1931" y="776"/>
                  <a:pt x="1931" y="807"/>
                </a:cubicBezTo>
                <a:cubicBezTo>
                  <a:pt x="1949" y="819"/>
                  <a:pt x="1969" y="836"/>
                  <a:pt x="1985" y="861"/>
                </a:cubicBezTo>
                <a:cubicBezTo>
                  <a:pt x="2021" y="917"/>
                  <a:pt x="2028" y="993"/>
                  <a:pt x="2003" y="1085"/>
                </a:cubicBezTo>
                <a:close/>
                <a:moveTo>
                  <a:pt x="2597" y="2377"/>
                </a:moveTo>
                <a:lnTo>
                  <a:pt x="2597" y="2848"/>
                </a:lnTo>
                <a:cubicBezTo>
                  <a:pt x="2597" y="2885"/>
                  <a:pt x="2567" y="2914"/>
                  <a:pt x="2530" y="2914"/>
                </a:cubicBezTo>
                <a:lnTo>
                  <a:pt x="66" y="2914"/>
                </a:lnTo>
                <a:cubicBezTo>
                  <a:pt x="30" y="2914"/>
                  <a:pt x="0" y="2885"/>
                  <a:pt x="0" y="2848"/>
                </a:cubicBezTo>
                <a:lnTo>
                  <a:pt x="0" y="2377"/>
                </a:lnTo>
                <a:cubicBezTo>
                  <a:pt x="0" y="2184"/>
                  <a:pt x="115" y="2014"/>
                  <a:pt x="294" y="1942"/>
                </a:cubicBezTo>
                <a:lnTo>
                  <a:pt x="877" y="1709"/>
                </a:lnTo>
                <a:cubicBezTo>
                  <a:pt x="894" y="1702"/>
                  <a:pt x="913" y="1703"/>
                  <a:pt x="929" y="1710"/>
                </a:cubicBezTo>
                <a:cubicBezTo>
                  <a:pt x="946" y="1717"/>
                  <a:pt x="959" y="1731"/>
                  <a:pt x="965" y="1748"/>
                </a:cubicBezTo>
                <a:lnTo>
                  <a:pt x="1111" y="2153"/>
                </a:lnTo>
                <a:lnTo>
                  <a:pt x="1140" y="2070"/>
                </a:lnTo>
                <a:lnTo>
                  <a:pt x="1094" y="1957"/>
                </a:lnTo>
                <a:cubicBezTo>
                  <a:pt x="1086" y="1936"/>
                  <a:pt x="1088" y="1913"/>
                  <a:pt x="1101" y="1895"/>
                </a:cubicBezTo>
                <a:cubicBezTo>
                  <a:pt x="1113" y="1876"/>
                  <a:pt x="1134" y="1865"/>
                  <a:pt x="1156" y="1865"/>
                </a:cubicBezTo>
                <a:lnTo>
                  <a:pt x="1441" y="1865"/>
                </a:lnTo>
                <a:cubicBezTo>
                  <a:pt x="1463" y="1865"/>
                  <a:pt x="1484" y="1876"/>
                  <a:pt x="1496" y="1895"/>
                </a:cubicBezTo>
                <a:cubicBezTo>
                  <a:pt x="1508" y="1913"/>
                  <a:pt x="1511" y="1936"/>
                  <a:pt x="1502" y="1957"/>
                </a:cubicBezTo>
                <a:lnTo>
                  <a:pt x="1456" y="2070"/>
                </a:lnTo>
                <a:lnTo>
                  <a:pt x="1485" y="2153"/>
                </a:lnTo>
                <a:lnTo>
                  <a:pt x="1632" y="1748"/>
                </a:lnTo>
                <a:cubicBezTo>
                  <a:pt x="1638" y="1731"/>
                  <a:pt x="1651" y="1717"/>
                  <a:pt x="1667" y="1710"/>
                </a:cubicBezTo>
                <a:cubicBezTo>
                  <a:pt x="1684" y="1703"/>
                  <a:pt x="1702" y="1702"/>
                  <a:pt x="1719" y="1709"/>
                </a:cubicBezTo>
                <a:lnTo>
                  <a:pt x="2302" y="1942"/>
                </a:lnTo>
                <a:cubicBezTo>
                  <a:pt x="2481" y="2014"/>
                  <a:pt x="2597" y="2184"/>
                  <a:pt x="2597" y="2377"/>
                </a:cubicBezTo>
                <a:close/>
                <a:moveTo>
                  <a:pt x="2242" y="2428"/>
                </a:moveTo>
                <a:cubicBezTo>
                  <a:pt x="2242" y="2392"/>
                  <a:pt x="2212" y="2362"/>
                  <a:pt x="2175" y="2362"/>
                </a:cubicBezTo>
                <a:lnTo>
                  <a:pt x="1727" y="2362"/>
                </a:lnTo>
                <a:cubicBezTo>
                  <a:pt x="1691" y="2362"/>
                  <a:pt x="1661" y="2392"/>
                  <a:pt x="1661" y="2428"/>
                </a:cubicBezTo>
                <a:lnTo>
                  <a:pt x="1661" y="2636"/>
                </a:lnTo>
                <a:cubicBezTo>
                  <a:pt x="1661" y="2673"/>
                  <a:pt x="1691" y="2703"/>
                  <a:pt x="1727" y="2703"/>
                </a:cubicBezTo>
                <a:lnTo>
                  <a:pt x="2175" y="2703"/>
                </a:lnTo>
                <a:cubicBezTo>
                  <a:pt x="2212" y="2703"/>
                  <a:pt x="2242" y="2673"/>
                  <a:pt x="2242" y="2636"/>
                </a:cubicBezTo>
                <a:lnTo>
                  <a:pt x="2242" y="2428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6" name="任意多边形: 形状 106"/>
          <p:cNvSpPr/>
          <p:nvPr/>
        </p:nvSpPr>
        <p:spPr>
          <a:xfrm>
            <a:off x="5072358" y="1149985"/>
            <a:ext cx="1134154" cy="1270800"/>
          </a:xfrm>
          <a:custGeom>
            <a:avLst/>
            <a:gdLst>
              <a:gd name="T0" fmla="*/ 2003 w 2597"/>
              <a:gd name="T1" fmla="*/ 1085 h 2914"/>
              <a:gd name="T2" fmla="*/ 1796 w 2597"/>
              <a:gd name="T3" fmla="*/ 1305 h 2914"/>
              <a:gd name="T4" fmla="*/ 1608 w 2597"/>
              <a:gd name="T5" fmla="*/ 1588 h 2914"/>
              <a:gd name="T6" fmla="*/ 1490 w 2597"/>
              <a:gd name="T7" fmla="*/ 1660 h 2914"/>
              <a:gd name="T8" fmla="*/ 1298 w 2597"/>
              <a:gd name="T9" fmla="*/ 1696 h 2914"/>
              <a:gd name="T10" fmla="*/ 1107 w 2597"/>
              <a:gd name="T11" fmla="*/ 1660 h 2914"/>
              <a:gd name="T12" fmla="*/ 989 w 2597"/>
              <a:gd name="T13" fmla="*/ 1588 h 2914"/>
              <a:gd name="T14" fmla="*/ 801 w 2597"/>
              <a:gd name="T15" fmla="*/ 1305 h 2914"/>
              <a:gd name="T16" fmla="*/ 593 w 2597"/>
              <a:gd name="T17" fmla="*/ 1085 h 2914"/>
              <a:gd name="T18" fmla="*/ 611 w 2597"/>
              <a:gd name="T19" fmla="*/ 861 h 2914"/>
              <a:gd name="T20" fmla="*/ 665 w 2597"/>
              <a:gd name="T21" fmla="*/ 807 h 2914"/>
              <a:gd name="T22" fmla="*/ 668 w 2597"/>
              <a:gd name="T23" fmla="*/ 739 h 2914"/>
              <a:gd name="T24" fmla="*/ 646 w 2597"/>
              <a:gd name="T25" fmla="*/ 436 h 2914"/>
              <a:gd name="T26" fmla="*/ 900 w 2597"/>
              <a:gd name="T27" fmla="*/ 239 h 2914"/>
              <a:gd name="T28" fmla="*/ 1037 w 2597"/>
              <a:gd name="T29" fmla="*/ 90 h 2914"/>
              <a:gd name="T30" fmla="*/ 1338 w 2597"/>
              <a:gd name="T31" fmla="*/ 0 h 2914"/>
              <a:gd name="T32" fmla="*/ 1741 w 2597"/>
              <a:gd name="T33" fmla="*/ 141 h 2914"/>
              <a:gd name="T34" fmla="*/ 1922 w 2597"/>
              <a:gd name="T35" fmla="*/ 682 h 2914"/>
              <a:gd name="T36" fmla="*/ 1931 w 2597"/>
              <a:gd name="T37" fmla="*/ 807 h 2914"/>
              <a:gd name="T38" fmla="*/ 1985 w 2597"/>
              <a:gd name="T39" fmla="*/ 861 h 2914"/>
              <a:gd name="T40" fmla="*/ 2003 w 2597"/>
              <a:gd name="T41" fmla="*/ 1085 h 2914"/>
              <a:gd name="T42" fmla="*/ 2597 w 2597"/>
              <a:gd name="T43" fmla="*/ 2377 h 2914"/>
              <a:gd name="T44" fmla="*/ 2597 w 2597"/>
              <a:gd name="T45" fmla="*/ 2848 h 2914"/>
              <a:gd name="T46" fmla="*/ 2530 w 2597"/>
              <a:gd name="T47" fmla="*/ 2914 h 2914"/>
              <a:gd name="T48" fmla="*/ 66 w 2597"/>
              <a:gd name="T49" fmla="*/ 2914 h 2914"/>
              <a:gd name="T50" fmla="*/ 0 w 2597"/>
              <a:gd name="T51" fmla="*/ 2848 h 2914"/>
              <a:gd name="T52" fmla="*/ 0 w 2597"/>
              <a:gd name="T53" fmla="*/ 2377 h 2914"/>
              <a:gd name="T54" fmla="*/ 294 w 2597"/>
              <a:gd name="T55" fmla="*/ 1942 h 2914"/>
              <a:gd name="T56" fmla="*/ 877 w 2597"/>
              <a:gd name="T57" fmla="*/ 1709 h 2914"/>
              <a:gd name="T58" fmla="*/ 929 w 2597"/>
              <a:gd name="T59" fmla="*/ 1710 h 2914"/>
              <a:gd name="T60" fmla="*/ 965 w 2597"/>
              <a:gd name="T61" fmla="*/ 1748 h 2914"/>
              <a:gd name="T62" fmla="*/ 1111 w 2597"/>
              <a:gd name="T63" fmla="*/ 2153 h 2914"/>
              <a:gd name="T64" fmla="*/ 1140 w 2597"/>
              <a:gd name="T65" fmla="*/ 2070 h 2914"/>
              <a:gd name="T66" fmla="*/ 1094 w 2597"/>
              <a:gd name="T67" fmla="*/ 1957 h 2914"/>
              <a:gd name="T68" fmla="*/ 1101 w 2597"/>
              <a:gd name="T69" fmla="*/ 1895 h 2914"/>
              <a:gd name="T70" fmla="*/ 1156 w 2597"/>
              <a:gd name="T71" fmla="*/ 1865 h 2914"/>
              <a:gd name="T72" fmla="*/ 1441 w 2597"/>
              <a:gd name="T73" fmla="*/ 1865 h 2914"/>
              <a:gd name="T74" fmla="*/ 1496 w 2597"/>
              <a:gd name="T75" fmla="*/ 1895 h 2914"/>
              <a:gd name="T76" fmla="*/ 1502 w 2597"/>
              <a:gd name="T77" fmla="*/ 1957 h 2914"/>
              <a:gd name="T78" fmla="*/ 1456 w 2597"/>
              <a:gd name="T79" fmla="*/ 2070 h 2914"/>
              <a:gd name="T80" fmla="*/ 1485 w 2597"/>
              <a:gd name="T81" fmla="*/ 2153 h 2914"/>
              <a:gd name="T82" fmla="*/ 1632 w 2597"/>
              <a:gd name="T83" fmla="*/ 1748 h 2914"/>
              <a:gd name="T84" fmla="*/ 1667 w 2597"/>
              <a:gd name="T85" fmla="*/ 1710 h 2914"/>
              <a:gd name="T86" fmla="*/ 1719 w 2597"/>
              <a:gd name="T87" fmla="*/ 1709 h 2914"/>
              <a:gd name="T88" fmla="*/ 2302 w 2597"/>
              <a:gd name="T89" fmla="*/ 1942 h 2914"/>
              <a:gd name="T90" fmla="*/ 2597 w 2597"/>
              <a:gd name="T91" fmla="*/ 2377 h 2914"/>
              <a:gd name="T92" fmla="*/ 2242 w 2597"/>
              <a:gd name="T93" fmla="*/ 2428 h 2914"/>
              <a:gd name="T94" fmla="*/ 2175 w 2597"/>
              <a:gd name="T95" fmla="*/ 2362 h 2914"/>
              <a:gd name="T96" fmla="*/ 1727 w 2597"/>
              <a:gd name="T97" fmla="*/ 2362 h 2914"/>
              <a:gd name="T98" fmla="*/ 1661 w 2597"/>
              <a:gd name="T99" fmla="*/ 2428 h 2914"/>
              <a:gd name="T100" fmla="*/ 1661 w 2597"/>
              <a:gd name="T101" fmla="*/ 2636 h 2914"/>
              <a:gd name="T102" fmla="*/ 1727 w 2597"/>
              <a:gd name="T103" fmla="*/ 2703 h 2914"/>
              <a:gd name="T104" fmla="*/ 2175 w 2597"/>
              <a:gd name="T105" fmla="*/ 2703 h 2914"/>
              <a:gd name="T106" fmla="*/ 2242 w 2597"/>
              <a:gd name="T107" fmla="*/ 2636 h 2914"/>
              <a:gd name="T108" fmla="*/ 2242 w 2597"/>
              <a:gd name="T109" fmla="*/ 2428 h 2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97" h="2914">
                <a:moveTo>
                  <a:pt x="2003" y="1085"/>
                </a:moveTo>
                <a:cubicBezTo>
                  <a:pt x="1958" y="1259"/>
                  <a:pt x="1852" y="1297"/>
                  <a:pt x="1796" y="1305"/>
                </a:cubicBezTo>
                <a:cubicBezTo>
                  <a:pt x="1761" y="1374"/>
                  <a:pt x="1684" y="1516"/>
                  <a:pt x="1608" y="1588"/>
                </a:cubicBezTo>
                <a:cubicBezTo>
                  <a:pt x="1577" y="1616"/>
                  <a:pt x="1538" y="1641"/>
                  <a:pt x="1490" y="1660"/>
                </a:cubicBezTo>
                <a:cubicBezTo>
                  <a:pt x="1429" y="1684"/>
                  <a:pt x="1364" y="1696"/>
                  <a:pt x="1298" y="1696"/>
                </a:cubicBezTo>
                <a:cubicBezTo>
                  <a:pt x="1232" y="1696"/>
                  <a:pt x="1168" y="1684"/>
                  <a:pt x="1107" y="1660"/>
                </a:cubicBezTo>
                <a:cubicBezTo>
                  <a:pt x="1059" y="1641"/>
                  <a:pt x="1019" y="1616"/>
                  <a:pt x="989" y="1588"/>
                </a:cubicBezTo>
                <a:cubicBezTo>
                  <a:pt x="912" y="1516"/>
                  <a:pt x="836" y="1374"/>
                  <a:pt x="801" y="1305"/>
                </a:cubicBezTo>
                <a:cubicBezTo>
                  <a:pt x="744" y="1297"/>
                  <a:pt x="638" y="1259"/>
                  <a:pt x="593" y="1085"/>
                </a:cubicBezTo>
                <a:cubicBezTo>
                  <a:pt x="569" y="993"/>
                  <a:pt x="575" y="917"/>
                  <a:pt x="611" y="861"/>
                </a:cubicBezTo>
                <a:cubicBezTo>
                  <a:pt x="628" y="836"/>
                  <a:pt x="647" y="819"/>
                  <a:pt x="665" y="807"/>
                </a:cubicBezTo>
                <a:cubicBezTo>
                  <a:pt x="665" y="789"/>
                  <a:pt x="666" y="765"/>
                  <a:pt x="668" y="739"/>
                </a:cubicBezTo>
                <a:cubicBezTo>
                  <a:pt x="636" y="693"/>
                  <a:pt x="591" y="595"/>
                  <a:pt x="646" y="436"/>
                </a:cubicBezTo>
                <a:cubicBezTo>
                  <a:pt x="705" y="267"/>
                  <a:pt x="837" y="241"/>
                  <a:pt x="900" y="239"/>
                </a:cubicBezTo>
                <a:cubicBezTo>
                  <a:pt x="922" y="199"/>
                  <a:pt x="963" y="142"/>
                  <a:pt x="1037" y="90"/>
                </a:cubicBezTo>
                <a:cubicBezTo>
                  <a:pt x="1119" y="32"/>
                  <a:pt x="1226" y="0"/>
                  <a:pt x="1338" y="0"/>
                </a:cubicBezTo>
                <a:cubicBezTo>
                  <a:pt x="1477" y="0"/>
                  <a:pt x="1616" y="49"/>
                  <a:pt x="1741" y="141"/>
                </a:cubicBezTo>
                <a:cubicBezTo>
                  <a:pt x="1944" y="290"/>
                  <a:pt x="1926" y="622"/>
                  <a:pt x="1922" y="682"/>
                </a:cubicBezTo>
                <a:cubicBezTo>
                  <a:pt x="1929" y="732"/>
                  <a:pt x="1931" y="776"/>
                  <a:pt x="1931" y="807"/>
                </a:cubicBezTo>
                <a:cubicBezTo>
                  <a:pt x="1949" y="819"/>
                  <a:pt x="1969" y="836"/>
                  <a:pt x="1985" y="861"/>
                </a:cubicBezTo>
                <a:cubicBezTo>
                  <a:pt x="2021" y="917"/>
                  <a:pt x="2028" y="993"/>
                  <a:pt x="2003" y="1085"/>
                </a:cubicBezTo>
                <a:close/>
                <a:moveTo>
                  <a:pt x="2597" y="2377"/>
                </a:moveTo>
                <a:lnTo>
                  <a:pt x="2597" y="2848"/>
                </a:lnTo>
                <a:cubicBezTo>
                  <a:pt x="2597" y="2885"/>
                  <a:pt x="2567" y="2914"/>
                  <a:pt x="2530" y="2914"/>
                </a:cubicBezTo>
                <a:lnTo>
                  <a:pt x="66" y="2914"/>
                </a:lnTo>
                <a:cubicBezTo>
                  <a:pt x="30" y="2914"/>
                  <a:pt x="0" y="2885"/>
                  <a:pt x="0" y="2848"/>
                </a:cubicBezTo>
                <a:lnTo>
                  <a:pt x="0" y="2377"/>
                </a:lnTo>
                <a:cubicBezTo>
                  <a:pt x="0" y="2184"/>
                  <a:pt x="115" y="2014"/>
                  <a:pt x="294" y="1942"/>
                </a:cubicBezTo>
                <a:lnTo>
                  <a:pt x="877" y="1709"/>
                </a:lnTo>
                <a:cubicBezTo>
                  <a:pt x="894" y="1702"/>
                  <a:pt x="913" y="1703"/>
                  <a:pt x="929" y="1710"/>
                </a:cubicBezTo>
                <a:cubicBezTo>
                  <a:pt x="946" y="1717"/>
                  <a:pt x="959" y="1731"/>
                  <a:pt x="965" y="1748"/>
                </a:cubicBezTo>
                <a:lnTo>
                  <a:pt x="1111" y="2153"/>
                </a:lnTo>
                <a:lnTo>
                  <a:pt x="1140" y="2070"/>
                </a:lnTo>
                <a:lnTo>
                  <a:pt x="1094" y="1957"/>
                </a:lnTo>
                <a:cubicBezTo>
                  <a:pt x="1086" y="1936"/>
                  <a:pt x="1088" y="1913"/>
                  <a:pt x="1101" y="1895"/>
                </a:cubicBezTo>
                <a:cubicBezTo>
                  <a:pt x="1113" y="1876"/>
                  <a:pt x="1134" y="1865"/>
                  <a:pt x="1156" y="1865"/>
                </a:cubicBezTo>
                <a:lnTo>
                  <a:pt x="1441" y="1865"/>
                </a:lnTo>
                <a:cubicBezTo>
                  <a:pt x="1463" y="1865"/>
                  <a:pt x="1484" y="1876"/>
                  <a:pt x="1496" y="1895"/>
                </a:cubicBezTo>
                <a:cubicBezTo>
                  <a:pt x="1508" y="1913"/>
                  <a:pt x="1511" y="1936"/>
                  <a:pt x="1502" y="1957"/>
                </a:cubicBezTo>
                <a:lnTo>
                  <a:pt x="1456" y="2070"/>
                </a:lnTo>
                <a:lnTo>
                  <a:pt x="1485" y="2153"/>
                </a:lnTo>
                <a:lnTo>
                  <a:pt x="1632" y="1748"/>
                </a:lnTo>
                <a:cubicBezTo>
                  <a:pt x="1638" y="1731"/>
                  <a:pt x="1651" y="1717"/>
                  <a:pt x="1667" y="1710"/>
                </a:cubicBezTo>
                <a:cubicBezTo>
                  <a:pt x="1684" y="1703"/>
                  <a:pt x="1702" y="1702"/>
                  <a:pt x="1719" y="1709"/>
                </a:cubicBezTo>
                <a:lnTo>
                  <a:pt x="2302" y="1942"/>
                </a:lnTo>
                <a:cubicBezTo>
                  <a:pt x="2481" y="2014"/>
                  <a:pt x="2597" y="2184"/>
                  <a:pt x="2597" y="2377"/>
                </a:cubicBezTo>
                <a:close/>
                <a:moveTo>
                  <a:pt x="2242" y="2428"/>
                </a:moveTo>
                <a:cubicBezTo>
                  <a:pt x="2242" y="2392"/>
                  <a:pt x="2212" y="2362"/>
                  <a:pt x="2175" y="2362"/>
                </a:cubicBezTo>
                <a:lnTo>
                  <a:pt x="1727" y="2362"/>
                </a:lnTo>
                <a:cubicBezTo>
                  <a:pt x="1691" y="2362"/>
                  <a:pt x="1661" y="2392"/>
                  <a:pt x="1661" y="2428"/>
                </a:cubicBezTo>
                <a:lnTo>
                  <a:pt x="1661" y="2636"/>
                </a:lnTo>
                <a:cubicBezTo>
                  <a:pt x="1661" y="2673"/>
                  <a:pt x="1691" y="2703"/>
                  <a:pt x="1727" y="2703"/>
                </a:cubicBezTo>
                <a:lnTo>
                  <a:pt x="2175" y="2703"/>
                </a:lnTo>
                <a:cubicBezTo>
                  <a:pt x="2212" y="2703"/>
                  <a:pt x="2242" y="2673"/>
                  <a:pt x="2242" y="2636"/>
                </a:cubicBezTo>
                <a:lnTo>
                  <a:pt x="2242" y="2428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/>
        </p:txBody>
      </p:sp>
      <p:sp>
        <p:nvSpPr>
          <p:cNvPr id="51" name="椭圆 50"/>
          <p:cNvSpPr/>
          <p:nvPr/>
        </p:nvSpPr>
        <p:spPr bwMode="auto">
          <a:xfrm>
            <a:off x="3046095" y="856615"/>
            <a:ext cx="2104390" cy="109093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难</a:t>
            </a:r>
            <a:r>
              <a:rPr lang="zh-CN" altLang="en-US" b="1" dirty="0">
                <a:solidFill>
                  <a:schemeClr val="tx1"/>
                </a:solidFill>
              </a:rPr>
              <a:t>管理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7" name="椭圆 6"/>
          <p:cNvSpPr/>
          <p:nvPr/>
        </p:nvSpPr>
        <p:spPr bwMode="auto">
          <a:xfrm>
            <a:off x="6879590" y="856615"/>
            <a:ext cx="2104390" cy="109093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开发成本</a:t>
            </a:r>
            <a:r>
              <a:rPr lang="zh-CN" altLang="en-US" b="1" dirty="0">
                <a:solidFill>
                  <a:schemeClr val="tx1"/>
                </a:solidFill>
              </a:rPr>
              <a:t>高</a:t>
            </a:r>
            <a:endParaRPr lang="zh-CN" altLang="en-US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现状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 dirty="0"/>
          </a:p>
        </p:txBody>
      </p:sp>
      <p:grpSp>
        <p:nvGrpSpPr>
          <p:cNvPr id="27" name="组合 26"/>
          <p:cNvGrpSpPr/>
          <p:nvPr/>
        </p:nvGrpSpPr>
        <p:grpSpPr>
          <a:xfrm>
            <a:off x="2274538" y="1377932"/>
            <a:ext cx="2452120" cy="4521236"/>
            <a:chOff x="1817010" y="1547262"/>
            <a:chExt cx="2452120" cy="4521236"/>
          </a:xfrm>
        </p:grpSpPr>
        <p:sp>
          <p:nvSpPr>
            <p:cNvPr id="39" name="任意多边形: 形状 38"/>
            <p:cNvSpPr/>
            <p:nvPr/>
          </p:nvSpPr>
          <p:spPr bwMode="auto">
            <a:xfrm rot="5400000" flipH="1">
              <a:off x="2279854" y="5172402"/>
              <a:ext cx="495784" cy="1296408"/>
            </a:xfrm>
            <a:custGeom>
              <a:avLst/>
              <a:gdLst>
                <a:gd name="T0" fmla="*/ 14 w 32"/>
                <a:gd name="T1" fmla="*/ 9 h 83"/>
                <a:gd name="T2" fmla="*/ 18 w 32"/>
                <a:gd name="T3" fmla="*/ 16 h 83"/>
                <a:gd name="T4" fmla="*/ 3 w 32"/>
                <a:gd name="T5" fmla="*/ 73 h 83"/>
                <a:gd name="T6" fmla="*/ 0 w 32"/>
                <a:gd name="T7" fmla="*/ 78 h 83"/>
                <a:gd name="T8" fmla="*/ 5 w 32"/>
                <a:gd name="T9" fmla="*/ 83 h 83"/>
                <a:gd name="T10" fmla="*/ 10 w 32"/>
                <a:gd name="T11" fmla="*/ 78 h 83"/>
                <a:gd name="T12" fmla="*/ 7 w 32"/>
                <a:gd name="T13" fmla="*/ 74 h 83"/>
                <a:gd name="T14" fmla="*/ 21 w 32"/>
                <a:gd name="T15" fmla="*/ 17 h 83"/>
                <a:gd name="T16" fmla="*/ 23 w 32"/>
                <a:gd name="T17" fmla="*/ 18 h 83"/>
                <a:gd name="T18" fmla="*/ 32 w 32"/>
                <a:gd name="T19" fmla="*/ 9 h 83"/>
                <a:gd name="T20" fmla="*/ 23 w 32"/>
                <a:gd name="T21" fmla="*/ 0 h 83"/>
                <a:gd name="T22" fmla="*/ 14 w 32"/>
                <a:gd name="T23" fmla="*/ 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83">
                  <a:moveTo>
                    <a:pt x="14" y="9"/>
                  </a:moveTo>
                  <a:cubicBezTo>
                    <a:pt x="14" y="12"/>
                    <a:pt x="16" y="14"/>
                    <a:pt x="18" y="16"/>
                  </a:cubicBezTo>
                  <a:cubicBezTo>
                    <a:pt x="9" y="34"/>
                    <a:pt x="4" y="53"/>
                    <a:pt x="3" y="73"/>
                  </a:cubicBezTo>
                  <a:cubicBezTo>
                    <a:pt x="2" y="74"/>
                    <a:pt x="0" y="76"/>
                    <a:pt x="0" y="78"/>
                  </a:cubicBezTo>
                  <a:cubicBezTo>
                    <a:pt x="0" y="81"/>
                    <a:pt x="2" y="83"/>
                    <a:pt x="5" y="83"/>
                  </a:cubicBezTo>
                  <a:cubicBezTo>
                    <a:pt x="8" y="83"/>
                    <a:pt x="10" y="81"/>
                    <a:pt x="10" y="78"/>
                  </a:cubicBezTo>
                  <a:cubicBezTo>
                    <a:pt x="10" y="76"/>
                    <a:pt x="8" y="74"/>
                    <a:pt x="7" y="74"/>
                  </a:cubicBezTo>
                  <a:cubicBezTo>
                    <a:pt x="7" y="54"/>
                    <a:pt x="12" y="35"/>
                    <a:pt x="21" y="17"/>
                  </a:cubicBezTo>
                  <a:cubicBezTo>
                    <a:pt x="22" y="17"/>
                    <a:pt x="22" y="18"/>
                    <a:pt x="23" y="18"/>
                  </a:cubicBezTo>
                  <a:cubicBezTo>
                    <a:pt x="28" y="18"/>
                    <a:pt x="32" y="14"/>
                    <a:pt x="32" y="9"/>
                  </a:cubicBezTo>
                  <a:cubicBezTo>
                    <a:pt x="32" y="4"/>
                    <a:pt x="28" y="0"/>
                    <a:pt x="23" y="0"/>
                  </a:cubicBezTo>
                  <a:cubicBezTo>
                    <a:pt x="18" y="0"/>
                    <a:pt x="14" y="4"/>
                    <a:pt x="14" y="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40" name="任意多边形: 形状 39"/>
            <p:cNvSpPr/>
            <p:nvPr/>
          </p:nvSpPr>
          <p:spPr bwMode="auto">
            <a:xfrm rot="5400000" flipH="1">
              <a:off x="2976631" y="4779347"/>
              <a:ext cx="991567" cy="999384"/>
            </a:xfrm>
            <a:custGeom>
              <a:avLst/>
              <a:gdLst>
                <a:gd name="T0" fmla="*/ 46 w 64"/>
                <a:gd name="T1" fmla="*/ 9 h 64"/>
                <a:gd name="T2" fmla="*/ 47 w 64"/>
                <a:gd name="T3" fmla="*/ 12 h 64"/>
                <a:gd name="T4" fmla="*/ 6 w 64"/>
                <a:gd name="T5" fmla="*/ 55 h 64"/>
                <a:gd name="T6" fmla="*/ 5 w 64"/>
                <a:gd name="T7" fmla="*/ 55 h 64"/>
                <a:gd name="T8" fmla="*/ 0 w 64"/>
                <a:gd name="T9" fmla="*/ 59 h 64"/>
                <a:gd name="T10" fmla="*/ 5 w 64"/>
                <a:gd name="T11" fmla="*/ 64 h 64"/>
                <a:gd name="T12" fmla="*/ 9 w 64"/>
                <a:gd name="T13" fmla="*/ 59 h 64"/>
                <a:gd name="T14" fmla="*/ 8 w 64"/>
                <a:gd name="T15" fmla="*/ 56 h 64"/>
                <a:gd name="T16" fmla="*/ 49 w 64"/>
                <a:gd name="T17" fmla="*/ 15 h 64"/>
                <a:gd name="T18" fmla="*/ 55 w 64"/>
                <a:gd name="T19" fmla="*/ 18 h 64"/>
                <a:gd name="T20" fmla="*/ 64 w 64"/>
                <a:gd name="T21" fmla="*/ 9 h 64"/>
                <a:gd name="T22" fmla="*/ 55 w 64"/>
                <a:gd name="T23" fmla="*/ 0 h 64"/>
                <a:gd name="T24" fmla="*/ 46 w 64"/>
                <a:gd name="T25" fmla="*/ 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64">
                  <a:moveTo>
                    <a:pt x="46" y="9"/>
                  </a:moveTo>
                  <a:cubicBezTo>
                    <a:pt x="46" y="10"/>
                    <a:pt x="47" y="11"/>
                    <a:pt x="47" y="12"/>
                  </a:cubicBezTo>
                  <a:cubicBezTo>
                    <a:pt x="30" y="23"/>
                    <a:pt x="16" y="38"/>
                    <a:pt x="6" y="55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2" y="55"/>
                    <a:pt x="0" y="57"/>
                    <a:pt x="0" y="59"/>
                  </a:cubicBezTo>
                  <a:cubicBezTo>
                    <a:pt x="0" y="62"/>
                    <a:pt x="2" y="64"/>
                    <a:pt x="5" y="64"/>
                  </a:cubicBezTo>
                  <a:cubicBezTo>
                    <a:pt x="7" y="64"/>
                    <a:pt x="9" y="62"/>
                    <a:pt x="9" y="59"/>
                  </a:cubicBezTo>
                  <a:cubicBezTo>
                    <a:pt x="9" y="58"/>
                    <a:pt x="9" y="57"/>
                    <a:pt x="8" y="56"/>
                  </a:cubicBezTo>
                  <a:cubicBezTo>
                    <a:pt x="19" y="40"/>
                    <a:pt x="32" y="25"/>
                    <a:pt x="49" y="15"/>
                  </a:cubicBezTo>
                  <a:cubicBezTo>
                    <a:pt x="50" y="16"/>
                    <a:pt x="53" y="18"/>
                    <a:pt x="55" y="18"/>
                  </a:cubicBezTo>
                  <a:cubicBezTo>
                    <a:pt x="60" y="18"/>
                    <a:pt x="64" y="14"/>
                    <a:pt x="64" y="9"/>
                  </a:cubicBezTo>
                  <a:cubicBezTo>
                    <a:pt x="64" y="4"/>
                    <a:pt x="60" y="0"/>
                    <a:pt x="55" y="0"/>
                  </a:cubicBezTo>
                  <a:cubicBezTo>
                    <a:pt x="50" y="0"/>
                    <a:pt x="46" y="4"/>
                    <a:pt x="46" y="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41" name="任意多边形: 形状 40"/>
            <p:cNvSpPr/>
            <p:nvPr/>
          </p:nvSpPr>
          <p:spPr bwMode="auto">
            <a:xfrm rot="5400000" flipH="1">
              <a:off x="3376942" y="4092063"/>
              <a:ext cx="1284125" cy="500250"/>
            </a:xfrm>
            <a:custGeom>
              <a:avLst/>
              <a:gdLst>
                <a:gd name="T0" fmla="*/ 65 w 83"/>
                <a:gd name="T1" fmla="*/ 8 h 32"/>
                <a:gd name="T2" fmla="*/ 7 w 83"/>
                <a:gd name="T3" fmla="*/ 24 h 32"/>
                <a:gd name="T4" fmla="*/ 4 w 83"/>
                <a:gd name="T5" fmla="*/ 23 h 32"/>
                <a:gd name="T6" fmla="*/ 0 w 83"/>
                <a:gd name="T7" fmla="*/ 28 h 32"/>
                <a:gd name="T8" fmla="*/ 4 w 83"/>
                <a:gd name="T9" fmla="*/ 32 h 32"/>
                <a:gd name="T10" fmla="*/ 9 w 83"/>
                <a:gd name="T11" fmla="*/ 28 h 32"/>
                <a:gd name="T12" fmla="*/ 9 w 83"/>
                <a:gd name="T13" fmla="*/ 27 h 32"/>
                <a:gd name="T14" fmla="*/ 65 w 83"/>
                <a:gd name="T15" fmla="*/ 11 h 32"/>
                <a:gd name="T16" fmla="*/ 74 w 83"/>
                <a:gd name="T17" fmla="*/ 18 h 32"/>
                <a:gd name="T18" fmla="*/ 83 w 83"/>
                <a:gd name="T19" fmla="*/ 9 h 32"/>
                <a:gd name="T20" fmla="*/ 74 w 83"/>
                <a:gd name="T21" fmla="*/ 0 h 32"/>
                <a:gd name="T22" fmla="*/ 65 w 83"/>
                <a:gd name="T23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32">
                  <a:moveTo>
                    <a:pt x="65" y="8"/>
                  </a:moveTo>
                  <a:cubicBezTo>
                    <a:pt x="45" y="9"/>
                    <a:pt x="25" y="15"/>
                    <a:pt x="7" y="24"/>
                  </a:cubicBezTo>
                  <a:cubicBezTo>
                    <a:pt x="7" y="23"/>
                    <a:pt x="5" y="23"/>
                    <a:pt x="4" y="23"/>
                  </a:cubicBezTo>
                  <a:cubicBezTo>
                    <a:pt x="2" y="23"/>
                    <a:pt x="0" y="25"/>
                    <a:pt x="0" y="28"/>
                  </a:cubicBezTo>
                  <a:cubicBezTo>
                    <a:pt x="0" y="30"/>
                    <a:pt x="2" y="32"/>
                    <a:pt x="4" y="32"/>
                  </a:cubicBezTo>
                  <a:cubicBezTo>
                    <a:pt x="7" y="32"/>
                    <a:pt x="9" y="30"/>
                    <a:pt x="9" y="28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26" y="17"/>
                    <a:pt x="46" y="12"/>
                    <a:pt x="65" y="11"/>
                  </a:cubicBezTo>
                  <a:cubicBezTo>
                    <a:pt x="66" y="15"/>
                    <a:pt x="70" y="18"/>
                    <a:pt x="74" y="18"/>
                  </a:cubicBezTo>
                  <a:cubicBezTo>
                    <a:pt x="79" y="18"/>
                    <a:pt x="83" y="14"/>
                    <a:pt x="83" y="9"/>
                  </a:cubicBezTo>
                  <a:cubicBezTo>
                    <a:pt x="83" y="4"/>
                    <a:pt x="79" y="0"/>
                    <a:pt x="74" y="0"/>
                  </a:cubicBezTo>
                  <a:cubicBezTo>
                    <a:pt x="70" y="0"/>
                    <a:pt x="66" y="3"/>
                    <a:pt x="65" y="8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42" name="任意多边形: 形状 41"/>
            <p:cNvSpPr/>
            <p:nvPr/>
          </p:nvSpPr>
          <p:spPr bwMode="auto">
            <a:xfrm rot="5400000" flipH="1">
              <a:off x="3313852" y="3024005"/>
              <a:ext cx="1285241" cy="500250"/>
            </a:xfrm>
            <a:custGeom>
              <a:avLst/>
              <a:gdLst>
                <a:gd name="T0" fmla="*/ 5 w 83"/>
                <a:gd name="T1" fmla="*/ 0 h 32"/>
                <a:gd name="T2" fmla="*/ 0 w 83"/>
                <a:gd name="T3" fmla="*/ 5 h 32"/>
                <a:gd name="T4" fmla="*/ 5 w 83"/>
                <a:gd name="T5" fmla="*/ 10 h 32"/>
                <a:gd name="T6" fmla="*/ 9 w 83"/>
                <a:gd name="T7" fmla="*/ 7 h 32"/>
                <a:gd name="T8" fmla="*/ 66 w 83"/>
                <a:gd name="T9" fmla="*/ 21 h 32"/>
                <a:gd name="T10" fmla="*/ 66 w 83"/>
                <a:gd name="T11" fmla="*/ 23 h 32"/>
                <a:gd name="T12" fmla="*/ 74 w 83"/>
                <a:gd name="T13" fmla="*/ 32 h 32"/>
                <a:gd name="T14" fmla="*/ 83 w 83"/>
                <a:gd name="T15" fmla="*/ 23 h 32"/>
                <a:gd name="T16" fmla="*/ 74 w 83"/>
                <a:gd name="T17" fmla="*/ 15 h 32"/>
                <a:gd name="T18" fmla="*/ 67 w 83"/>
                <a:gd name="T19" fmla="*/ 18 h 32"/>
                <a:gd name="T20" fmla="*/ 10 w 83"/>
                <a:gd name="T21" fmla="*/ 3 h 32"/>
                <a:gd name="T22" fmla="*/ 5 w 83"/>
                <a:gd name="T2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32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" y="10"/>
                    <a:pt x="9" y="8"/>
                    <a:pt x="9" y="7"/>
                  </a:cubicBezTo>
                  <a:cubicBezTo>
                    <a:pt x="29" y="7"/>
                    <a:pt x="48" y="12"/>
                    <a:pt x="66" y="21"/>
                  </a:cubicBezTo>
                  <a:cubicBezTo>
                    <a:pt x="66" y="22"/>
                    <a:pt x="66" y="23"/>
                    <a:pt x="66" y="23"/>
                  </a:cubicBezTo>
                  <a:cubicBezTo>
                    <a:pt x="66" y="28"/>
                    <a:pt x="70" y="32"/>
                    <a:pt x="74" y="32"/>
                  </a:cubicBezTo>
                  <a:cubicBezTo>
                    <a:pt x="79" y="32"/>
                    <a:pt x="83" y="28"/>
                    <a:pt x="83" y="23"/>
                  </a:cubicBezTo>
                  <a:cubicBezTo>
                    <a:pt x="83" y="19"/>
                    <a:pt x="79" y="15"/>
                    <a:pt x="74" y="15"/>
                  </a:cubicBezTo>
                  <a:cubicBezTo>
                    <a:pt x="72" y="15"/>
                    <a:pt x="69" y="16"/>
                    <a:pt x="67" y="18"/>
                  </a:cubicBezTo>
                  <a:cubicBezTo>
                    <a:pt x="50" y="9"/>
                    <a:pt x="30" y="4"/>
                    <a:pt x="10" y="3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43" name="任意多边形: 形状 42"/>
            <p:cNvSpPr/>
            <p:nvPr/>
          </p:nvSpPr>
          <p:spPr bwMode="auto">
            <a:xfrm rot="5400000" flipH="1">
              <a:off x="2906282" y="1829211"/>
              <a:ext cx="991567" cy="1015016"/>
            </a:xfrm>
            <a:custGeom>
              <a:avLst/>
              <a:gdLst>
                <a:gd name="T0" fmla="*/ 0 w 64"/>
                <a:gd name="T1" fmla="*/ 4 h 65"/>
                <a:gd name="T2" fmla="*/ 4 w 64"/>
                <a:gd name="T3" fmla="*/ 9 h 65"/>
                <a:gd name="T4" fmla="*/ 8 w 64"/>
                <a:gd name="T5" fmla="*/ 8 h 65"/>
                <a:gd name="T6" fmla="*/ 50 w 64"/>
                <a:gd name="T7" fmla="*/ 49 h 65"/>
                <a:gd name="T8" fmla="*/ 47 w 64"/>
                <a:gd name="T9" fmla="*/ 56 h 65"/>
                <a:gd name="T10" fmla="*/ 56 w 64"/>
                <a:gd name="T11" fmla="*/ 65 h 65"/>
                <a:gd name="T12" fmla="*/ 64 w 64"/>
                <a:gd name="T13" fmla="*/ 56 h 65"/>
                <a:gd name="T14" fmla="*/ 56 w 64"/>
                <a:gd name="T15" fmla="*/ 47 h 65"/>
                <a:gd name="T16" fmla="*/ 52 w 64"/>
                <a:gd name="T17" fmla="*/ 47 h 65"/>
                <a:gd name="T18" fmla="*/ 9 w 64"/>
                <a:gd name="T19" fmla="*/ 5 h 65"/>
                <a:gd name="T20" fmla="*/ 9 w 64"/>
                <a:gd name="T21" fmla="*/ 4 h 65"/>
                <a:gd name="T22" fmla="*/ 4 w 64"/>
                <a:gd name="T23" fmla="*/ 0 h 65"/>
                <a:gd name="T24" fmla="*/ 0 w 64"/>
                <a:gd name="T25" fmla="*/ 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65">
                  <a:moveTo>
                    <a:pt x="0" y="4"/>
                  </a:moveTo>
                  <a:cubicBezTo>
                    <a:pt x="0" y="7"/>
                    <a:pt x="2" y="9"/>
                    <a:pt x="4" y="9"/>
                  </a:cubicBezTo>
                  <a:cubicBezTo>
                    <a:pt x="6" y="9"/>
                    <a:pt x="7" y="9"/>
                    <a:pt x="8" y="8"/>
                  </a:cubicBezTo>
                  <a:cubicBezTo>
                    <a:pt x="24" y="19"/>
                    <a:pt x="39" y="33"/>
                    <a:pt x="50" y="49"/>
                  </a:cubicBezTo>
                  <a:cubicBezTo>
                    <a:pt x="48" y="51"/>
                    <a:pt x="47" y="53"/>
                    <a:pt x="47" y="56"/>
                  </a:cubicBezTo>
                  <a:cubicBezTo>
                    <a:pt x="47" y="61"/>
                    <a:pt x="51" y="65"/>
                    <a:pt x="56" y="65"/>
                  </a:cubicBezTo>
                  <a:cubicBezTo>
                    <a:pt x="60" y="65"/>
                    <a:pt x="64" y="61"/>
                    <a:pt x="64" y="56"/>
                  </a:cubicBezTo>
                  <a:cubicBezTo>
                    <a:pt x="64" y="51"/>
                    <a:pt x="60" y="47"/>
                    <a:pt x="56" y="47"/>
                  </a:cubicBezTo>
                  <a:cubicBezTo>
                    <a:pt x="54" y="47"/>
                    <a:pt x="53" y="47"/>
                    <a:pt x="52" y="47"/>
                  </a:cubicBezTo>
                  <a:cubicBezTo>
                    <a:pt x="41" y="30"/>
                    <a:pt x="26" y="16"/>
                    <a:pt x="9" y="5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44" name="任意多边形: 形状 43"/>
            <p:cNvSpPr/>
            <p:nvPr/>
          </p:nvSpPr>
          <p:spPr bwMode="auto">
            <a:xfrm rot="5400000" flipH="1">
              <a:off x="2217322" y="1146950"/>
              <a:ext cx="495784" cy="1296408"/>
            </a:xfrm>
            <a:custGeom>
              <a:avLst/>
              <a:gdLst>
                <a:gd name="T0" fmla="*/ 0 w 32"/>
                <a:gd name="T1" fmla="*/ 5 h 83"/>
                <a:gd name="T2" fmla="*/ 5 w 32"/>
                <a:gd name="T3" fmla="*/ 9 h 83"/>
                <a:gd name="T4" fmla="*/ 5 w 32"/>
                <a:gd name="T5" fmla="*/ 9 h 83"/>
                <a:gd name="T6" fmla="*/ 21 w 32"/>
                <a:gd name="T7" fmla="*/ 65 h 83"/>
                <a:gd name="T8" fmla="*/ 14 w 32"/>
                <a:gd name="T9" fmla="*/ 74 h 83"/>
                <a:gd name="T10" fmla="*/ 23 w 32"/>
                <a:gd name="T11" fmla="*/ 83 h 83"/>
                <a:gd name="T12" fmla="*/ 32 w 32"/>
                <a:gd name="T13" fmla="*/ 74 h 83"/>
                <a:gd name="T14" fmla="*/ 24 w 32"/>
                <a:gd name="T15" fmla="*/ 65 h 83"/>
                <a:gd name="T16" fmla="*/ 8 w 32"/>
                <a:gd name="T17" fmla="*/ 8 h 83"/>
                <a:gd name="T18" fmla="*/ 9 w 32"/>
                <a:gd name="T19" fmla="*/ 5 h 83"/>
                <a:gd name="T20" fmla="*/ 5 w 32"/>
                <a:gd name="T21" fmla="*/ 0 h 83"/>
                <a:gd name="T22" fmla="*/ 0 w 32"/>
                <a:gd name="T23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83">
                  <a:moveTo>
                    <a:pt x="0" y="5"/>
                  </a:moveTo>
                  <a:cubicBezTo>
                    <a:pt x="0" y="7"/>
                    <a:pt x="2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15" y="27"/>
                    <a:pt x="20" y="46"/>
                    <a:pt x="21" y="65"/>
                  </a:cubicBezTo>
                  <a:cubicBezTo>
                    <a:pt x="17" y="66"/>
                    <a:pt x="14" y="70"/>
                    <a:pt x="14" y="74"/>
                  </a:cubicBezTo>
                  <a:cubicBezTo>
                    <a:pt x="14" y="79"/>
                    <a:pt x="18" y="83"/>
                    <a:pt x="23" y="83"/>
                  </a:cubicBezTo>
                  <a:cubicBezTo>
                    <a:pt x="28" y="83"/>
                    <a:pt x="32" y="79"/>
                    <a:pt x="32" y="74"/>
                  </a:cubicBezTo>
                  <a:cubicBezTo>
                    <a:pt x="32" y="69"/>
                    <a:pt x="29" y="66"/>
                    <a:pt x="24" y="65"/>
                  </a:cubicBezTo>
                  <a:cubicBezTo>
                    <a:pt x="23" y="45"/>
                    <a:pt x="18" y="25"/>
                    <a:pt x="8" y="8"/>
                  </a:cubicBezTo>
                  <a:cubicBezTo>
                    <a:pt x="9" y="7"/>
                    <a:pt x="9" y="6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1160032" y="1910093"/>
            <a:ext cx="3106010" cy="3456915"/>
            <a:chOff x="957263" y="2343150"/>
            <a:chExt cx="2459038" cy="2736850"/>
          </a:xfrm>
        </p:grpSpPr>
        <p:sp>
          <p:nvSpPr>
            <p:cNvPr id="29" name="任意多边形: 形状 28"/>
            <p:cNvSpPr/>
            <p:nvPr/>
          </p:nvSpPr>
          <p:spPr bwMode="auto">
            <a:xfrm>
              <a:off x="957263" y="2343150"/>
              <a:ext cx="976313" cy="2736850"/>
            </a:xfrm>
            <a:custGeom>
              <a:avLst/>
              <a:gdLst>
                <a:gd name="T0" fmla="*/ 122 w 139"/>
                <a:gd name="T1" fmla="*/ 0 h 390"/>
                <a:gd name="T2" fmla="*/ 122 w 139"/>
                <a:gd name="T3" fmla="*/ 22 h 390"/>
                <a:gd name="T4" fmla="*/ 42 w 139"/>
                <a:gd name="T5" fmla="*/ 50 h 390"/>
                <a:gd name="T6" fmla="*/ 60 w 139"/>
                <a:gd name="T7" fmla="*/ 192 h 390"/>
                <a:gd name="T8" fmla="*/ 122 w 139"/>
                <a:gd name="T9" fmla="*/ 213 h 390"/>
                <a:gd name="T10" fmla="*/ 122 w 139"/>
                <a:gd name="T11" fmla="*/ 290 h 390"/>
                <a:gd name="T12" fmla="*/ 90 w 139"/>
                <a:gd name="T13" fmla="*/ 242 h 390"/>
                <a:gd name="T14" fmla="*/ 2 w 139"/>
                <a:gd name="T15" fmla="*/ 252 h 390"/>
                <a:gd name="T16" fmla="*/ 122 w 139"/>
                <a:gd name="T17" fmla="*/ 349 h 390"/>
                <a:gd name="T18" fmla="*/ 122 w 139"/>
                <a:gd name="T19" fmla="*/ 390 h 390"/>
                <a:gd name="T20" fmla="*/ 139 w 139"/>
                <a:gd name="T21" fmla="*/ 390 h 390"/>
                <a:gd name="T22" fmla="*/ 139 w 139"/>
                <a:gd name="T23" fmla="*/ 0 h 390"/>
                <a:gd name="T24" fmla="*/ 122 w 139"/>
                <a:gd name="T25" fmla="*/ 0 h 390"/>
                <a:gd name="T26" fmla="*/ 122 w 139"/>
                <a:gd name="T27" fmla="*/ 134 h 390"/>
                <a:gd name="T28" fmla="*/ 103 w 139"/>
                <a:gd name="T29" fmla="*/ 122 h 390"/>
                <a:gd name="T30" fmla="*/ 122 w 139"/>
                <a:gd name="T31" fmla="*/ 78 h 390"/>
                <a:gd name="T32" fmla="*/ 122 w 139"/>
                <a:gd name="T33" fmla="*/ 134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390">
                  <a:moveTo>
                    <a:pt x="122" y="0"/>
                  </a:moveTo>
                  <a:cubicBezTo>
                    <a:pt x="122" y="22"/>
                    <a:pt x="122" y="22"/>
                    <a:pt x="122" y="22"/>
                  </a:cubicBezTo>
                  <a:cubicBezTo>
                    <a:pt x="87" y="23"/>
                    <a:pt x="60" y="33"/>
                    <a:pt x="42" y="50"/>
                  </a:cubicBezTo>
                  <a:cubicBezTo>
                    <a:pt x="0" y="91"/>
                    <a:pt x="6" y="166"/>
                    <a:pt x="60" y="192"/>
                  </a:cubicBezTo>
                  <a:cubicBezTo>
                    <a:pt x="72" y="198"/>
                    <a:pt x="93" y="205"/>
                    <a:pt x="122" y="213"/>
                  </a:cubicBezTo>
                  <a:cubicBezTo>
                    <a:pt x="122" y="290"/>
                    <a:pt x="122" y="290"/>
                    <a:pt x="122" y="290"/>
                  </a:cubicBezTo>
                  <a:cubicBezTo>
                    <a:pt x="99" y="279"/>
                    <a:pt x="94" y="266"/>
                    <a:pt x="90" y="242"/>
                  </a:cubicBezTo>
                  <a:cubicBezTo>
                    <a:pt x="2" y="252"/>
                    <a:pt x="2" y="252"/>
                    <a:pt x="2" y="252"/>
                  </a:cubicBezTo>
                  <a:cubicBezTo>
                    <a:pt x="14" y="319"/>
                    <a:pt x="57" y="343"/>
                    <a:pt x="122" y="349"/>
                  </a:cubicBezTo>
                  <a:cubicBezTo>
                    <a:pt x="122" y="390"/>
                    <a:pt x="122" y="390"/>
                    <a:pt x="122" y="390"/>
                  </a:cubicBezTo>
                  <a:cubicBezTo>
                    <a:pt x="139" y="390"/>
                    <a:pt x="139" y="390"/>
                    <a:pt x="139" y="390"/>
                  </a:cubicBezTo>
                  <a:cubicBezTo>
                    <a:pt x="139" y="0"/>
                    <a:pt x="139" y="0"/>
                    <a:pt x="139" y="0"/>
                  </a:cubicBezTo>
                  <a:lnTo>
                    <a:pt x="122" y="0"/>
                  </a:lnTo>
                  <a:close/>
                  <a:moveTo>
                    <a:pt x="122" y="134"/>
                  </a:moveTo>
                  <a:cubicBezTo>
                    <a:pt x="113" y="130"/>
                    <a:pt x="107" y="127"/>
                    <a:pt x="103" y="122"/>
                  </a:cubicBezTo>
                  <a:cubicBezTo>
                    <a:pt x="88" y="103"/>
                    <a:pt x="102" y="84"/>
                    <a:pt x="122" y="78"/>
                  </a:cubicBezTo>
                  <a:lnTo>
                    <a:pt x="122" y="134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0" name="任意多边形: 形状 29"/>
            <p:cNvSpPr/>
            <p:nvPr/>
          </p:nvSpPr>
          <p:spPr bwMode="auto">
            <a:xfrm>
              <a:off x="2312988" y="2778125"/>
              <a:ext cx="484188" cy="330200"/>
            </a:xfrm>
            <a:custGeom>
              <a:avLst/>
              <a:gdLst>
                <a:gd name="T0" fmla="*/ 0 w 69"/>
                <a:gd name="T1" fmla="*/ 0 h 47"/>
                <a:gd name="T2" fmla="*/ 69 w 69"/>
                <a:gd name="T3" fmla="*/ 47 h 47"/>
                <a:gd name="T4" fmla="*/ 20 w 69"/>
                <a:gd name="T5" fmla="*/ 47 h 47"/>
                <a:gd name="T6" fmla="*/ 0 w 69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47">
                  <a:moveTo>
                    <a:pt x="0" y="0"/>
                  </a:moveTo>
                  <a:cubicBezTo>
                    <a:pt x="28" y="9"/>
                    <a:pt x="51" y="25"/>
                    <a:pt x="69" y="47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15" y="31"/>
                    <a:pt x="8" y="16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1" name="任意多边形: 形状 30"/>
            <p:cNvSpPr/>
            <p:nvPr/>
          </p:nvSpPr>
          <p:spPr bwMode="auto">
            <a:xfrm>
              <a:off x="2032001" y="2735263"/>
              <a:ext cx="309563" cy="373063"/>
            </a:xfrm>
            <a:custGeom>
              <a:avLst/>
              <a:gdLst>
                <a:gd name="T0" fmla="*/ 0 w 44"/>
                <a:gd name="T1" fmla="*/ 0 h 53"/>
                <a:gd name="T2" fmla="*/ 22 w 44"/>
                <a:gd name="T3" fmla="*/ 2 h 53"/>
                <a:gd name="T4" fmla="*/ 44 w 44"/>
                <a:gd name="T5" fmla="*/ 53 h 53"/>
                <a:gd name="T6" fmla="*/ 0 w 44"/>
                <a:gd name="T7" fmla="*/ 53 h 53"/>
                <a:gd name="T8" fmla="*/ 0 w 44"/>
                <a:gd name="T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53">
                  <a:moveTo>
                    <a:pt x="0" y="0"/>
                  </a:moveTo>
                  <a:cubicBezTo>
                    <a:pt x="8" y="0"/>
                    <a:pt x="15" y="1"/>
                    <a:pt x="22" y="2"/>
                  </a:cubicBezTo>
                  <a:cubicBezTo>
                    <a:pt x="31" y="19"/>
                    <a:pt x="39" y="36"/>
                    <a:pt x="44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2" name="任意多边形: 形状 31"/>
            <p:cNvSpPr/>
            <p:nvPr/>
          </p:nvSpPr>
          <p:spPr bwMode="auto">
            <a:xfrm>
              <a:off x="2489201" y="3233738"/>
              <a:ext cx="519113" cy="414338"/>
            </a:xfrm>
            <a:custGeom>
              <a:avLst/>
              <a:gdLst>
                <a:gd name="T0" fmla="*/ 0 w 74"/>
                <a:gd name="T1" fmla="*/ 0 h 59"/>
                <a:gd name="T2" fmla="*/ 56 w 74"/>
                <a:gd name="T3" fmla="*/ 0 h 59"/>
                <a:gd name="T4" fmla="*/ 74 w 74"/>
                <a:gd name="T5" fmla="*/ 59 h 59"/>
                <a:gd name="T6" fmla="*/ 7 w 74"/>
                <a:gd name="T7" fmla="*/ 59 h 59"/>
                <a:gd name="T8" fmla="*/ 0 w 74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59">
                  <a:moveTo>
                    <a:pt x="0" y="0"/>
                  </a:moveTo>
                  <a:cubicBezTo>
                    <a:pt x="56" y="0"/>
                    <a:pt x="56" y="0"/>
                    <a:pt x="56" y="0"/>
                  </a:cubicBezTo>
                  <a:cubicBezTo>
                    <a:pt x="66" y="17"/>
                    <a:pt x="72" y="38"/>
                    <a:pt x="74" y="59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7" y="39"/>
                    <a:pt x="5" y="19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3" name="任意多边形: 形状 32"/>
            <p:cNvSpPr/>
            <p:nvPr/>
          </p:nvSpPr>
          <p:spPr bwMode="auto">
            <a:xfrm>
              <a:off x="2032001" y="3233738"/>
              <a:ext cx="400050" cy="414338"/>
            </a:xfrm>
            <a:custGeom>
              <a:avLst/>
              <a:gdLst>
                <a:gd name="T0" fmla="*/ 0 w 57"/>
                <a:gd name="T1" fmla="*/ 0 h 59"/>
                <a:gd name="T2" fmla="*/ 49 w 57"/>
                <a:gd name="T3" fmla="*/ 0 h 59"/>
                <a:gd name="T4" fmla="*/ 57 w 57"/>
                <a:gd name="T5" fmla="*/ 59 h 59"/>
                <a:gd name="T6" fmla="*/ 0 w 57"/>
                <a:gd name="T7" fmla="*/ 59 h 59"/>
                <a:gd name="T8" fmla="*/ 0 w 57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59">
                  <a:moveTo>
                    <a:pt x="0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54" y="19"/>
                    <a:pt x="57" y="39"/>
                    <a:pt x="57" y="59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4" name="任意多边形: 形状 33"/>
            <p:cNvSpPr/>
            <p:nvPr/>
          </p:nvSpPr>
          <p:spPr bwMode="auto">
            <a:xfrm>
              <a:off x="2474913" y="3775075"/>
              <a:ext cx="533400" cy="420688"/>
            </a:xfrm>
            <a:custGeom>
              <a:avLst/>
              <a:gdLst>
                <a:gd name="T0" fmla="*/ 9 w 76"/>
                <a:gd name="T1" fmla="*/ 0 h 60"/>
                <a:gd name="T2" fmla="*/ 76 w 76"/>
                <a:gd name="T3" fmla="*/ 0 h 60"/>
                <a:gd name="T4" fmla="*/ 58 w 76"/>
                <a:gd name="T5" fmla="*/ 60 h 60"/>
                <a:gd name="T6" fmla="*/ 0 w 76"/>
                <a:gd name="T7" fmla="*/ 60 h 60"/>
                <a:gd name="T8" fmla="*/ 9 w 7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60">
                  <a:moveTo>
                    <a:pt x="9" y="0"/>
                  </a:moveTo>
                  <a:cubicBezTo>
                    <a:pt x="76" y="0"/>
                    <a:pt x="76" y="0"/>
                    <a:pt x="76" y="0"/>
                  </a:cubicBezTo>
                  <a:cubicBezTo>
                    <a:pt x="74" y="22"/>
                    <a:pt x="68" y="42"/>
                    <a:pt x="58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5" y="40"/>
                    <a:pt x="8" y="20"/>
                    <a:pt x="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5" name="任意多边形: 形状 34"/>
            <p:cNvSpPr/>
            <p:nvPr/>
          </p:nvSpPr>
          <p:spPr bwMode="auto">
            <a:xfrm>
              <a:off x="2032001" y="3775075"/>
              <a:ext cx="393700" cy="420688"/>
            </a:xfrm>
            <a:custGeom>
              <a:avLst/>
              <a:gdLst>
                <a:gd name="T0" fmla="*/ 0 w 56"/>
                <a:gd name="T1" fmla="*/ 0 h 60"/>
                <a:gd name="T2" fmla="*/ 56 w 56"/>
                <a:gd name="T3" fmla="*/ 0 h 60"/>
                <a:gd name="T4" fmla="*/ 45 w 56"/>
                <a:gd name="T5" fmla="*/ 60 h 60"/>
                <a:gd name="T6" fmla="*/ 0 w 56"/>
                <a:gd name="T7" fmla="*/ 60 h 60"/>
                <a:gd name="T8" fmla="*/ 0 w 5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60">
                  <a:moveTo>
                    <a:pt x="0" y="0"/>
                  </a:moveTo>
                  <a:cubicBezTo>
                    <a:pt x="56" y="0"/>
                    <a:pt x="56" y="0"/>
                    <a:pt x="56" y="0"/>
                  </a:cubicBezTo>
                  <a:cubicBezTo>
                    <a:pt x="55" y="20"/>
                    <a:pt x="51" y="40"/>
                    <a:pt x="45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6" name="任意多边形: 形状 35"/>
            <p:cNvSpPr/>
            <p:nvPr/>
          </p:nvSpPr>
          <p:spPr bwMode="auto">
            <a:xfrm>
              <a:off x="2305051" y="4321175"/>
              <a:ext cx="492125" cy="330200"/>
            </a:xfrm>
            <a:custGeom>
              <a:avLst/>
              <a:gdLst>
                <a:gd name="T0" fmla="*/ 19 w 70"/>
                <a:gd name="T1" fmla="*/ 0 h 47"/>
                <a:gd name="T2" fmla="*/ 70 w 70"/>
                <a:gd name="T3" fmla="*/ 0 h 47"/>
                <a:gd name="T4" fmla="*/ 0 w 70"/>
                <a:gd name="T5" fmla="*/ 47 h 47"/>
                <a:gd name="T6" fmla="*/ 19 w 70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" h="47">
                  <a:moveTo>
                    <a:pt x="19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52" y="22"/>
                    <a:pt x="28" y="39"/>
                    <a:pt x="0" y="47"/>
                  </a:cubicBezTo>
                  <a:cubicBezTo>
                    <a:pt x="7" y="31"/>
                    <a:pt x="13" y="15"/>
                    <a:pt x="1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7" name="任意多边形: 形状 36"/>
            <p:cNvSpPr/>
            <p:nvPr/>
          </p:nvSpPr>
          <p:spPr bwMode="auto">
            <a:xfrm>
              <a:off x="2032001" y="2447925"/>
              <a:ext cx="1384300" cy="2527300"/>
            </a:xfrm>
            <a:custGeom>
              <a:avLst/>
              <a:gdLst>
                <a:gd name="T0" fmla="*/ 0 w 197"/>
                <a:gd name="T1" fmla="*/ 0 h 360"/>
                <a:gd name="T2" fmla="*/ 127 w 197"/>
                <a:gd name="T3" fmla="*/ 53 h 360"/>
                <a:gd name="T4" fmla="*/ 127 w 197"/>
                <a:gd name="T5" fmla="*/ 308 h 360"/>
                <a:gd name="T6" fmla="*/ 0 w 197"/>
                <a:gd name="T7" fmla="*/ 360 h 360"/>
                <a:gd name="T8" fmla="*/ 0 w 197"/>
                <a:gd name="T9" fmla="*/ 334 h 360"/>
                <a:gd name="T10" fmla="*/ 109 w 197"/>
                <a:gd name="T11" fmla="*/ 289 h 360"/>
                <a:gd name="T12" fmla="*/ 109 w 197"/>
                <a:gd name="T13" fmla="*/ 71 h 360"/>
                <a:gd name="T14" fmla="*/ 0 w 197"/>
                <a:gd name="T15" fmla="*/ 27 h 360"/>
                <a:gd name="T16" fmla="*/ 0 w 197"/>
                <a:gd name="T17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" h="360">
                  <a:moveTo>
                    <a:pt x="0" y="0"/>
                  </a:moveTo>
                  <a:cubicBezTo>
                    <a:pt x="46" y="0"/>
                    <a:pt x="92" y="18"/>
                    <a:pt x="127" y="53"/>
                  </a:cubicBezTo>
                  <a:cubicBezTo>
                    <a:pt x="197" y="123"/>
                    <a:pt x="197" y="238"/>
                    <a:pt x="127" y="308"/>
                  </a:cubicBezTo>
                  <a:cubicBezTo>
                    <a:pt x="92" y="342"/>
                    <a:pt x="46" y="360"/>
                    <a:pt x="0" y="360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40" y="334"/>
                    <a:pt x="79" y="319"/>
                    <a:pt x="109" y="289"/>
                  </a:cubicBezTo>
                  <a:cubicBezTo>
                    <a:pt x="169" y="229"/>
                    <a:pt x="169" y="131"/>
                    <a:pt x="109" y="71"/>
                  </a:cubicBezTo>
                  <a:cubicBezTo>
                    <a:pt x="79" y="42"/>
                    <a:pt x="4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  <p:sp>
          <p:nvSpPr>
            <p:cNvPr id="38" name="任意多边形: 形状 37"/>
            <p:cNvSpPr/>
            <p:nvPr/>
          </p:nvSpPr>
          <p:spPr bwMode="auto">
            <a:xfrm>
              <a:off x="2032001" y="4321175"/>
              <a:ext cx="280988" cy="365125"/>
            </a:xfrm>
            <a:custGeom>
              <a:avLst/>
              <a:gdLst>
                <a:gd name="T0" fmla="*/ 0 w 40"/>
                <a:gd name="T1" fmla="*/ 0 h 52"/>
                <a:gd name="T2" fmla="*/ 40 w 40"/>
                <a:gd name="T3" fmla="*/ 0 h 52"/>
                <a:gd name="T4" fmla="*/ 18 w 40"/>
                <a:gd name="T5" fmla="*/ 51 h 52"/>
                <a:gd name="T6" fmla="*/ 0 w 40"/>
                <a:gd name="T7" fmla="*/ 52 h 52"/>
                <a:gd name="T8" fmla="*/ 0 w 40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2">
                  <a:moveTo>
                    <a:pt x="0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34" y="17"/>
                    <a:pt x="27" y="34"/>
                    <a:pt x="18" y="51"/>
                  </a:cubicBezTo>
                  <a:cubicBezTo>
                    <a:pt x="12" y="52"/>
                    <a:pt x="6" y="52"/>
                    <a:pt x="0" y="52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</a:p>
          </p:txBody>
        </p:sp>
      </p:grpSp>
      <p:cxnSp>
        <p:nvCxnSpPr>
          <p:cNvPr id="24" name="直接连接符 23"/>
          <p:cNvCxnSpPr/>
          <p:nvPr/>
        </p:nvCxnSpPr>
        <p:spPr>
          <a:xfrm>
            <a:off x="5544004" y="3596612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/>
        </p:nvCxnSpPr>
        <p:spPr>
          <a:xfrm>
            <a:off x="5544004" y="4896859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/>
          <p:nvPr/>
        </p:nvCxnSpPr>
        <p:spPr>
          <a:xfrm>
            <a:off x="5570674" y="5647797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>
            <a:off x="8813784" y="3596612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8813784" y="4896859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>
            <a:off x="8840454" y="5647797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矩形 8"/>
          <p:cNvSpPr/>
          <p:nvPr/>
        </p:nvSpPr>
        <p:spPr bwMode="auto">
          <a:xfrm>
            <a:off x="5610937" y="2467818"/>
            <a:ext cx="267941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30000"/>
              </a:lnSpc>
            </a:pPr>
            <a:r>
              <a:rPr lang="en-US" altLang="zh-CN" sz="1000" dirty="0"/>
              <a:t>        软件编写授权记录和验证模块，软件用户只需要输入授权码（加密后的字符串），激活授权码后即可使用软件</a:t>
            </a:r>
            <a:r>
              <a:rPr lang="zh-CN" altLang="en-US" sz="1000" dirty="0"/>
              <a:t>。</a:t>
            </a:r>
            <a:endParaRPr lang="zh-CN" altLang="en-US" sz="1000" dirty="0"/>
          </a:p>
        </p:txBody>
      </p:sp>
      <p:sp>
        <p:nvSpPr>
          <p:cNvPr id="10" name="文本框 9"/>
          <p:cNvSpPr txBox="1"/>
          <p:nvPr/>
        </p:nvSpPr>
        <p:spPr bwMode="auto">
          <a:xfrm>
            <a:off x="5610937" y="2080220"/>
            <a:ext cx="267941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授权码模式</a:t>
            </a:r>
            <a:endParaRPr lang="en-US" altLang="zh-CN" sz="1800" b="1" dirty="0"/>
          </a:p>
        </p:txBody>
      </p:sp>
      <p:sp>
        <p:nvSpPr>
          <p:cNvPr id="12" name="文本框 11"/>
          <p:cNvSpPr txBox="1"/>
          <p:nvPr/>
        </p:nvSpPr>
        <p:spPr bwMode="auto">
          <a:xfrm>
            <a:off x="5611113" y="4385044"/>
            <a:ext cx="267941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/>
              <a:t>易</a:t>
            </a:r>
            <a:r>
              <a:rPr lang="zh-CN" altLang="en-US" sz="1800" b="1" dirty="0"/>
              <a:t>克隆分发</a:t>
            </a:r>
            <a:endParaRPr lang="zh-CN" altLang="en-US" sz="1800" b="1" dirty="0"/>
          </a:p>
        </p:txBody>
      </p:sp>
      <p:sp>
        <p:nvSpPr>
          <p:cNvPr id="14" name="文本框 13"/>
          <p:cNvSpPr txBox="1"/>
          <p:nvPr/>
        </p:nvSpPr>
        <p:spPr bwMode="auto">
          <a:xfrm>
            <a:off x="5582538" y="5014627"/>
            <a:ext cx="267941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/>
              <a:t>授权</a:t>
            </a:r>
            <a:r>
              <a:rPr lang="zh-CN" altLang="en-US" sz="1800" b="1" dirty="0"/>
              <a:t>不灵活</a:t>
            </a:r>
            <a:endParaRPr lang="zh-CN" altLang="en-US" sz="1800" b="1" dirty="0"/>
          </a:p>
        </p:txBody>
      </p:sp>
      <p:sp>
        <p:nvSpPr>
          <p:cNvPr id="15" name="矩形 14"/>
          <p:cNvSpPr/>
          <p:nvPr/>
        </p:nvSpPr>
        <p:spPr bwMode="auto">
          <a:xfrm>
            <a:off x="8839835" y="2467022"/>
            <a:ext cx="2680034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l">
              <a:lnSpc>
                <a:spcPct val="130000"/>
              </a:lnSpc>
            </a:pPr>
            <a:r>
              <a:rPr lang="en-US" altLang="zh-CN" sz="1000" dirty="0"/>
              <a:t>       软件开发者为用户签发云许可，用户只需配置网络设置，即可使用软件。</a:t>
            </a:r>
            <a:endParaRPr lang="en-US" altLang="zh-CN" sz="1000" dirty="0"/>
          </a:p>
        </p:txBody>
      </p:sp>
      <p:sp>
        <p:nvSpPr>
          <p:cNvPr id="16" name="文本框 15"/>
          <p:cNvSpPr txBox="1"/>
          <p:nvPr/>
        </p:nvSpPr>
        <p:spPr bwMode="auto">
          <a:xfrm>
            <a:off x="8839835" y="2079424"/>
            <a:ext cx="268003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云授权模式</a:t>
            </a:r>
            <a:endParaRPr lang="en-US" altLang="zh-CN" sz="1800" b="1" dirty="0"/>
          </a:p>
        </p:txBody>
      </p:sp>
      <p:sp>
        <p:nvSpPr>
          <p:cNvPr id="18" name="文本框 17"/>
          <p:cNvSpPr txBox="1"/>
          <p:nvPr/>
        </p:nvSpPr>
        <p:spPr bwMode="auto">
          <a:xfrm>
            <a:off x="8813165" y="4428173"/>
            <a:ext cx="268003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/>
              <a:t>需</a:t>
            </a:r>
            <a:r>
              <a:rPr lang="zh-CN" altLang="en-US" sz="1800" b="1" dirty="0"/>
              <a:t>联网</a:t>
            </a:r>
            <a:endParaRPr lang="zh-CN" altLang="en-US" sz="1800" b="1" dirty="0"/>
          </a:p>
        </p:txBody>
      </p:sp>
      <p:sp>
        <p:nvSpPr>
          <p:cNvPr id="20" name="文本框 19"/>
          <p:cNvSpPr txBox="1"/>
          <p:nvPr/>
        </p:nvSpPr>
        <p:spPr bwMode="auto">
          <a:xfrm>
            <a:off x="8813785" y="5014627"/>
            <a:ext cx="268003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/>
              <a:t>配置</a:t>
            </a:r>
            <a:r>
              <a:rPr lang="zh-CN" altLang="en-US" sz="1800" b="1" dirty="0"/>
              <a:t>问题</a:t>
            </a:r>
            <a:endParaRPr lang="zh-CN" altLang="en-US" sz="1800" b="1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意义</a:t>
            </a:r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683554" y="2759231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椭圆 13"/>
          <p:cNvSpPr/>
          <p:nvPr/>
        </p:nvSpPr>
        <p:spPr bwMode="auto">
          <a:xfrm>
            <a:off x="3073877" y="4730752"/>
            <a:ext cx="650874" cy="650872"/>
          </a:xfrm>
          <a:prstGeom prst="ellips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意义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 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任意多边形: 形状 5"/>
          <p:cNvSpPr/>
          <p:nvPr/>
        </p:nvSpPr>
        <p:spPr bwMode="auto">
          <a:xfrm>
            <a:off x="5291931" y="1931987"/>
            <a:ext cx="1701800" cy="1727200"/>
          </a:xfrm>
          <a:custGeom>
            <a:avLst/>
            <a:gdLst>
              <a:gd name="T0" fmla="*/ 415 w 453"/>
              <a:gd name="T1" fmla="*/ 229 h 459"/>
              <a:gd name="T2" fmla="*/ 444 w 453"/>
              <a:gd name="T3" fmla="*/ 195 h 459"/>
              <a:gd name="T4" fmla="*/ 449 w 453"/>
              <a:gd name="T5" fmla="*/ 174 h 459"/>
              <a:gd name="T6" fmla="*/ 432 w 453"/>
              <a:gd name="T7" fmla="*/ 165 h 459"/>
              <a:gd name="T8" fmla="*/ 398 w 453"/>
              <a:gd name="T9" fmla="*/ 151 h 459"/>
              <a:gd name="T10" fmla="*/ 387 w 453"/>
              <a:gd name="T11" fmla="*/ 131 h 459"/>
              <a:gd name="T12" fmla="*/ 406 w 453"/>
              <a:gd name="T13" fmla="*/ 86 h 459"/>
              <a:gd name="T14" fmla="*/ 388 w 453"/>
              <a:gd name="T15" fmla="*/ 81 h 459"/>
              <a:gd name="T16" fmla="*/ 345 w 453"/>
              <a:gd name="T17" fmla="*/ 83 h 459"/>
              <a:gd name="T18" fmla="*/ 331 w 453"/>
              <a:gd name="T19" fmla="*/ 61 h 459"/>
              <a:gd name="T20" fmla="*/ 334 w 453"/>
              <a:gd name="T21" fmla="*/ 26 h 459"/>
              <a:gd name="T22" fmla="*/ 308 w 453"/>
              <a:gd name="T23" fmla="*/ 25 h 459"/>
              <a:gd name="T24" fmla="*/ 276 w 453"/>
              <a:gd name="T25" fmla="*/ 48 h 459"/>
              <a:gd name="T26" fmla="*/ 255 w 453"/>
              <a:gd name="T27" fmla="*/ 43 h 459"/>
              <a:gd name="T28" fmla="*/ 238 w 453"/>
              <a:gd name="T29" fmla="*/ 0 h 459"/>
              <a:gd name="T30" fmla="*/ 214 w 453"/>
              <a:gd name="T31" fmla="*/ 0 h 459"/>
              <a:gd name="T32" fmla="*/ 188 w 453"/>
              <a:gd name="T33" fmla="*/ 45 h 459"/>
              <a:gd name="T34" fmla="*/ 172 w 453"/>
              <a:gd name="T35" fmla="*/ 49 h 459"/>
              <a:gd name="T36" fmla="*/ 138 w 453"/>
              <a:gd name="T37" fmla="*/ 17 h 459"/>
              <a:gd name="T38" fmla="*/ 117 w 453"/>
              <a:gd name="T39" fmla="*/ 28 h 459"/>
              <a:gd name="T40" fmla="*/ 125 w 453"/>
              <a:gd name="T41" fmla="*/ 71 h 459"/>
              <a:gd name="T42" fmla="*/ 106 w 453"/>
              <a:gd name="T43" fmla="*/ 84 h 459"/>
              <a:gd name="T44" fmla="*/ 57 w 453"/>
              <a:gd name="T45" fmla="*/ 78 h 459"/>
              <a:gd name="T46" fmla="*/ 42 w 453"/>
              <a:gd name="T47" fmla="*/ 93 h 459"/>
              <a:gd name="T48" fmla="*/ 64 w 453"/>
              <a:gd name="T49" fmla="*/ 133 h 459"/>
              <a:gd name="T50" fmla="*/ 51 w 453"/>
              <a:gd name="T51" fmla="*/ 160 h 459"/>
              <a:gd name="T52" fmla="*/ 16 w 453"/>
              <a:gd name="T53" fmla="*/ 166 h 459"/>
              <a:gd name="T54" fmla="*/ 3 w 453"/>
              <a:gd name="T55" fmla="*/ 178 h 459"/>
              <a:gd name="T56" fmla="*/ 30 w 453"/>
              <a:gd name="T57" fmla="*/ 206 h 459"/>
              <a:gd name="T58" fmla="*/ 38 w 453"/>
              <a:gd name="T59" fmla="*/ 233 h 459"/>
              <a:gd name="T60" fmla="*/ 0 w 453"/>
              <a:gd name="T61" fmla="*/ 268 h 459"/>
              <a:gd name="T62" fmla="*/ 4 w 453"/>
              <a:gd name="T63" fmla="*/ 287 h 459"/>
              <a:gd name="T64" fmla="*/ 27 w 453"/>
              <a:gd name="T65" fmla="*/ 293 h 459"/>
              <a:gd name="T66" fmla="*/ 57 w 453"/>
              <a:gd name="T67" fmla="*/ 311 h 459"/>
              <a:gd name="T68" fmla="*/ 59 w 453"/>
              <a:gd name="T69" fmla="*/ 336 h 459"/>
              <a:gd name="T70" fmla="*/ 50 w 453"/>
              <a:gd name="T71" fmla="*/ 376 h 459"/>
              <a:gd name="T72" fmla="*/ 85 w 453"/>
              <a:gd name="T73" fmla="*/ 369 h 459"/>
              <a:gd name="T74" fmla="*/ 109 w 453"/>
              <a:gd name="T75" fmla="*/ 377 h 459"/>
              <a:gd name="T76" fmla="*/ 120 w 453"/>
              <a:gd name="T77" fmla="*/ 410 h 459"/>
              <a:gd name="T78" fmla="*/ 127 w 453"/>
              <a:gd name="T79" fmla="*/ 436 h 459"/>
              <a:gd name="T80" fmla="*/ 152 w 453"/>
              <a:gd name="T81" fmla="*/ 426 h 459"/>
              <a:gd name="T82" fmla="*/ 179 w 453"/>
              <a:gd name="T83" fmla="*/ 412 h 459"/>
              <a:gd name="T84" fmla="*/ 204 w 453"/>
              <a:gd name="T85" fmla="*/ 416 h 459"/>
              <a:gd name="T86" fmla="*/ 218 w 453"/>
              <a:gd name="T87" fmla="*/ 459 h 459"/>
              <a:gd name="T88" fmla="*/ 242 w 453"/>
              <a:gd name="T89" fmla="*/ 449 h 459"/>
              <a:gd name="T90" fmla="*/ 268 w 453"/>
              <a:gd name="T91" fmla="*/ 413 h 459"/>
              <a:gd name="T92" fmla="*/ 287 w 453"/>
              <a:gd name="T93" fmla="*/ 408 h 459"/>
              <a:gd name="T94" fmla="*/ 316 w 453"/>
              <a:gd name="T95" fmla="*/ 441 h 459"/>
              <a:gd name="T96" fmla="*/ 337 w 453"/>
              <a:gd name="T97" fmla="*/ 431 h 459"/>
              <a:gd name="T98" fmla="*/ 333 w 453"/>
              <a:gd name="T99" fmla="*/ 385 h 459"/>
              <a:gd name="T100" fmla="*/ 354 w 453"/>
              <a:gd name="T101" fmla="*/ 368 h 459"/>
              <a:gd name="T102" fmla="*/ 398 w 453"/>
              <a:gd name="T103" fmla="*/ 382 h 459"/>
              <a:gd name="T104" fmla="*/ 413 w 453"/>
              <a:gd name="T105" fmla="*/ 363 h 459"/>
              <a:gd name="T106" fmla="*/ 390 w 453"/>
              <a:gd name="T107" fmla="*/ 323 h 459"/>
              <a:gd name="T108" fmla="*/ 404 w 453"/>
              <a:gd name="T109" fmla="*/ 293 h 459"/>
              <a:gd name="T110" fmla="*/ 447 w 453"/>
              <a:gd name="T111" fmla="*/ 292 h 459"/>
              <a:gd name="T112" fmla="*/ 451 w 453"/>
              <a:gd name="T113" fmla="*/ 276 h 459"/>
              <a:gd name="T114" fmla="*/ 226 w 453"/>
              <a:gd name="T115" fmla="*/ 368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53" h="459">
                <a:moveTo>
                  <a:pt x="423" y="253"/>
                </a:moveTo>
                <a:cubicBezTo>
                  <a:pt x="420" y="252"/>
                  <a:pt x="417" y="250"/>
                  <a:pt x="414" y="249"/>
                </a:cubicBezTo>
                <a:cubicBezTo>
                  <a:pt x="414" y="247"/>
                  <a:pt x="414" y="245"/>
                  <a:pt x="414" y="243"/>
                </a:cubicBezTo>
                <a:cubicBezTo>
                  <a:pt x="415" y="239"/>
                  <a:pt x="415" y="235"/>
                  <a:pt x="415" y="233"/>
                </a:cubicBezTo>
                <a:cubicBezTo>
                  <a:pt x="415" y="231"/>
                  <a:pt x="415" y="229"/>
                  <a:pt x="415" y="229"/>
                </a:cubicBezTo>
                <a:cubicBezTo>
                  <a:pt x="415" y="229"/>
                  <a:pt x="415" y="228"/>
                  <a:pt x="415" y="226"/>
                </a:cubicBezTo>
                <a:cubicBezTo>
                  <a:pt x="415" y="223"/>
                  <a:pt x="415" y="220"/>
                  <a:pt x="414" y="216"/>
                </a:cubicBezTo>
                <a:cubicBezTo>
                  <a:pt x="414" y="214"/>
                  <a:pt x="414" y="212"/>
                  <a:pt x="414" y="210"/>
                </a:cubicBezTo>
                <a:cubicBezTo>
                  <a:pt x="417" y="209"/>
                  <a:pt x="420" y="207"/>
                  <a:pt x="423" y="206"/>
                </a:cubicBezTo>
                <a:cubicBezTo>
                  <a:pt x="431" y="202"/>
                  <a:pt x="438" y="198"/>
                  <a:pt x="444" y="195"/>
                </a:cubicBezTo>
                <a:cubicBezTo>
                  <a:pt x="449" y="192"/>
                  <a:pt x="453" y="190"/>
                  <a:pt x="453" y="190"/>
                </a:cubicBezTo>
                <a:cubicBezTo>
                  <a:pt x="453" y="190"/>
                  <a:pt x="452" y="189"/>
                  <a:pt x="452" y="187"/>
                </a:cubicBezTo>
                <a:cubicBezTo>
                  <a:pt x="452" y="185"/>
                  <a:pt x="452" y="184"/>
                  <a:pt x="451" y="183"/>
                </a:cubicBezTo>
                <a:cubicBezTo>
                  <a:pt x="451" y="181"/>
                  <a:pt x="451" y="180"/>
                  <a:pt x="450" y="178"/>
                </a:cubicBezTo>
                <a:cubicBezTo>
                  <a:pt x="450" y="177"/>
                  <a:pt x="450" y="175"/>
                  <a:pt x="449" y="174"/>
                </a:cubicBezTo>
                <a:cubicBezTo>
                  <a:pt x="449" y="173"/>
                  <a:pt x="449" y="173"/>
                  <a:pt x="449" y="172"/>
                </a:cubicBezTo>
                <a:cubicBezTo>
                  <a:pt x="449" y="171"/>
                  <a:pt x="448" y="171"/>
                  <a:pt x="448" y="170"/>
                </a:cubicBezTo>
                <a:cubicBezTo>
                  <a:pt x="448" y="168"/>
                  <a:pt x="447" y="166"/>
                  <a:pt x="447" y="166"/>
                </a:cubicBezTo>
                <a:cubicBezTo>
                  <a:pt x="447" y="166"/>
                  <a:pt x="443" y="166"/>
                  <a:pt x="437" y="166"/>
                </a:cubicBezTo>
                <a:cubicBezTo>
                  <a:pt x="435" y="166"/>
                  <a:pt x="434" y="166"/>
                  <a:pt x="432" y="165"/>
                </a:cubicBezTo>
                <a:cubicBezTo>
                  <a:pt x="430" y="165"/>
                  <a:pt x="428" y="165"/>
                  <a:pt x="426" y="165"/>
                </a:cubicBezTo>
                <a:cubicBezTo>
                  <a:pt x="422" y="165"/>
                  <a:pt x="418" y="165"/>
                  <a:pt x="414" y="165"/>
                </a:cubicBezTo>
                <a:cubicBezTo>
                  <a:pt x="411" y="165"/>
                  <a:pt x="407" y="165"/>
                  <a:pt x="404" y="166"/>
                </a:cubicBezTo>
                <a:cubicBezTo>
                  <a:pt x="403" y="163"/>
                  <a:pt x="402" y="162"/>
                  <a:pt x="402" y="160"/>
                </a:cubicBezTo>
                <a:cubicBezTo>
                  <a:pt x="400" y="156"/>
                  <a:pt x="399" y="153"/>
                  <a:pt x="398" y="151"/>
                </a:cubicBezTo>
                <a:cubicBezTo>
                  <a:pt x="397" y="149"/>
                  <a:pt x="396" y="148"/>
                  <a:pt x="396" y="148"/>
                </a:cubicBezTo>
                <a:cubicBezTo>
                  <a:pt x="396" y="148"/>
                  <a:pt x="396" y="146"/>
                  <a:pt x="395" y="144"/>
                </a:cubicBezTo>
                <a:cubicBezTo>
                  <a:pt x="394" y="142"/>
                  <a:pt x="392" y="139"/>
                  <a:pt x="390" y="136"/>
                </a:cubicBezTo>
                <a:cubicBezTo>
                  <a:pt x="390" y="135"/>
                  <a:pt x="389" y="134"/>
                  <a:pt x="389" y="133"/>
                </a:cubicBezTo>
                <a:cubicBezTo>
                  <a:pt x="388" y="132"/>
                  <a:pt x="387" y="131"/>
                  <a:pt x="387" y="131"/>
                </a:cubicBezTo>
                <a:cubicBezTo>
                  <a:pt x="389" y="128"/>
                  <a:pt x="391" y="125"/>
                  <a:pt x="394" y="123"/>
                </a:cubicBezTo>
                <a:cubicBezTo>
                  <a:pt x="399" y="116"/>
                  <a:pt x="404" y="110"/>
                  <a:pt x="407" y="105"/>
                </a:cubicBezTo>
                <a:cubicBezTo>
                  <a:pt x="411" y="99"/>
                  <a:pt x="413" y="96"/>
                  <a:pt x="413" y="96"/>
                </a:cubicBezTo>
                <a:cubicBezTo>
                  <a:pt x="413" y="96"/>
                  <a:pt x="412" y="95"/>
                  <a:pt x="411" y="93"/>
                </a:cubicBezTo>
                <a:cubicBezTo>
                  <a:pt x="410" y="91"/>
                  <a:pt x="408" y="89"/>
                  <a:pt x="406" y="86"/>
                </a:cubicBezTo>
                <a:cubicBezTo>
                  <a:pt x="405" y="85"/>
                  <a:pt x="404" y="84"/>
                  <a:pt x="403" y="83"/>
                </a:cubicBezTo>
                <a:cubicBezTo>
                  <a:pt x="402" y="82"/>
                  <a:pt x="401" y="81"/>
                  <a:pt x="401" y="80"/>
                </a:cubicBezTo>
                <a:cubicBezTo>
                  <a:pt x="399" y="78"/>
                  <a:pt x="398" y="77"/>
                  <a:pt x="398" y="77"/>
                </a:cubicBezTo>
                <a:cubicBezTo>
                  <a:pt x="398" y="77"/>
                  <a:pt x="397" y="77"/>
                  <a:pt x="395" y="78"/>
                </a:cubicBezTo>
                <a:cubicBezTo>
                  <a:pt x="394" y="79"/>
                  <a:pt x="391" y="79"/>
                  <a:pt x="388" y="81"/>
                </a:cubicBezTo>
                <a:cubicBezTo>
                  <a:pt x="383" y="83"/>
                  <a:pt x="375" y="87"/>
                  <a:pt x="368" y="90"/>
                </a:cubicBezTo>
                <a:cubicBezTo>
                  <a:pt x="365" y="92"/>
                  <a:pt x="361" y="93"/>
                  <a:pt x="359" y="95"/>
                </a:cubicBezTo>
                <a:cubicBezTo>
                  <a:pt x="357" y="93"/>
                  <a:pt x="355" y="92"/>
                  <a:pt x="354" y="91"/>
                </a:cubicBezTo>
                <a:cubicBezTo>
                  <a:pt x="351" y="88"/>
                  <a:pt x="348" y="86"/>
                  <a:pt x="347" y="84"/>
                </a:cubicBezTo>
                <a:cubicBezTo>
                  <a:pt x="346" y="84"/>
                  <a:pt x="345" y="83"/>
                  <a:pt x="345" y="83"/>
                </a:cubicBezTo>
                <a:cubicBezTo>
                  <a:pt x="344" y="82"/>
                  <a:pt x="344" y="82"/>
                  <a:pt x="344" y="82"/>
                </a:cubicBezTo>
                <a:cubicBezTo>
                  <a:pt x="344" y="82"/>
                  <a:pt x="343" y="81"/>
                  <a:pt x="341" y="80"/>
                </a:cubicBezTo>
                <a:cubicBezTo>
                  <a:pt x="339" y="78"/>
                  <a:pt x="337" y="77"/>
                  <a:pt x="333" y="74"/>
                </a:cubicBezTo>
                <a:cubicBezTo>
                  <a:pt x="332" y="73"/>
                  <a:pt x="330" y="72"/>
                  <a:pt x="328" y="71"/>
                </a:cubicBezTo>
                <a:cubicBezTo>
                  <a:pt x="329" y="67"/>
                  <a:pt x="330" y="64"/>
                  <a:pt x="331" y="61"/>
                </a:cubicBezTo>
                <a:cubicBezTo>
                  <a:pt x="332" y="57"/>
                  <a:pt x="333" y="53"/>
                  <a:pt x="333" y="49"/>
                </a:cubicBezTo>
                <a:cubicBezTo>
                  <a:pt x="334" y="45"/>
                  <a:pt x="335" y="41"/>
                  <a:pt x="335" y="38"/>
                </a:cubicBezTo>
                <a:cubicBezTo>
                  <a:pt x="336" y="32"/>
                  <a:pt x="337" y="28"/>
                  <a:pt x="337" y="28"/>
                </a:cubicBezTo>
                <a:cubicBezTo>
                  <a:pt x="337" y="28"/>
                  <a:pt x="337" y="28"/>
                  <a:pt x="336" y="28"/>
                </a:cubicBezTo>
                <a:cubicBezTo>
                  <a:pt x="335" y="27"/>
                  <a:pt x="335" y="27"/>
                  <a:pt x="334" y="26"/>
                </a:cubicBezTo>
                <a:cubicBezTo>
                  <a:pt x="332" y="25"/>
                  <a:pt x="329" y="24"/>
                  <a:pt x="326" y="22"/>
                </a:cubicBezTo>
                <a:cubicBezTo>
                  <a:pt x="323" y="21"/>
                  <a:pt x="321" y="20"/>
                  <a:pt x="318" y="19"/>
                </a:cubicBezTo>
                <a:cubicBezTo>
                  <a:pt x="317" y="18"/>
                  <a:pt x="317" y="18"/>
                  <a:pt x="316" y="18"/>
                </a:cubicBezTo>
                <a:cubicBezTo>
                  <a:pt x="315" y="18"/>
                  <a:pt x="315" y="17"/>
                  <a:pt x="315" y="17"/>
                </a:cubicBezTo>
                <a:cubicBezTo>
                  <a:pt x="315" y="17"/>
                  <a:pt x="312" y="20"/>
                  <a:pt x="308" y="25"/>
                </a:cubicBezTo>
                <a:cubicBezTo>
                  <a:pt x="306" y="28"/>
                  <a:pt x="303" y="30"/>
                  <a:pt x="301" y="33"/>
                </a:cubicBezTo>
                <a:cubicBezTo>
                  <a:pt x="298" y="36"/>
                  <a:pt x="296" y="39"/>
                  <a:pt x="293" y="43"/>
                </a:cubicBezTo>
                <a:cubicBezTo>
                  <a:pt x="291" y="45"/>
                  <a:pt x="289" y="48"/>
                  <a:pt x="287" y="51"/>
                </a:cubicBezTo>
                <a:cubicBezTo>
                  <a:pt x="285" y="50"/>
                  <a:pt x="283" y="50"/>
                  <a:pt x="281" y="49"/>
                </a:cubicBezTo>
                <a:cubicBezTo>
                  <a:pt x="279" y="48"/>
                  <a:pt x="277" y="48"/>
                  <a:pt x="276" y="48"/>
                </a:cubicBezTo>
                <a:cubicBezTo>
                  <a:pt x="275" y="47"/>
                  <a:pt x="274" y="47"/>
                  <a:pt x="274" y="47"/>
                </a:cubicBezTo>
                <a:cubicBezTo>
                  <a:pt x="273" y="47"/>
                  <a:pt x="272" y="47"/>
                  <a:pt x="272" y="47"/>
                </a:cubicBezTo>
                <a:cubicBezTo>
                  <a:pt x="270" y="46"/>
                  <a:pt x="268" y="46"/>
                  <a:pt x="268" y="46"/>
                </a:cubicBezTo>
                <a:cubicBezTo>
                  <a:pt x="268" y="46"/>
                  <a:pt x="267" y="45"/>
                  <a:pt x="265" y="45"/>
                </a:cubicBezTo>
                <a:cubicBezTo>
                  <a:pt x="263" y="44"/>
                  <a:pt x="259" y="44"/>
                  <a:pt x="255" y="43"/>
                </a:cubicBezTo>
                <a:cubicBezTo>
                  <a:pt x="253" y="43"/>
                  <a:pt x="251" y="43"/>
                  <a:pt x="249" y="42"/>
                </a:cubicBezTo>
                <a:cubicBezTo>
                  <a:pt x="249" y="39"/>
                  <a:pt x="248" y="36"/>
                  <a:pt x="247" y="32"/>
                </a:cubicBezTo>
                <a:cubicBezTo>
                  <a:pt x="245" y="24"/>
                  <a:pt x="243" y="16"/>
                  <a:pt x="242" y="10"/>
                </a:cubicBezTo>
                <a:cubicBezTo>
                  <a:pt x="240" y="4"/>
                  <a:pt x="239" y="0"/>
                  <a:pt x="239" y="0"/>
                </a:cubicBezTo>
                <a:cubicBezTo>
                  <a:pt x="239" y="0"/>
                  <a:pt x="238" y="0"/>
                  <a:pt x="238" y="0"/>
                </a:cubicBezTo>
                <a:cubicBezTo>
                  <a:pt x="237" y="0"/>
                  <a:pt x="236" y="0"/>
                  <a:pt x="235" y="0"/>
                </a:cubicBezTo>
                <a:cubicBezTo>
                  <a:pt x="233" y="0"/>
                  <a:pt x="229" y="0"/>
                  <a:pt x="226" y="0"/>
                </a:cubicBezTo>
                <a:cubicBezTo>
                  <a:pt x="223" y="0"/>
                  <a:pt x="220" y="0"/>
                  <a:pt x="218" y="0"/>
                </a:cubicBezTo>
                <a:cubicBezTo>
                  <a:pt x="217" y="0"/>
                  <a:pt x="216" y="0"/>
                  <a:pt x="215" y="0"/>
                </a:cubicBezTo>
                <a:cubicBezTo>
                  <a:pt x="215" y="0"/>
                  <a:pt x="214" y="0"/>
                  <a:pt x="214" y="0"/>
                </a:cubicBezTo>
                <a:cubicBezTo>
                  <a:pt x="214" y="0"/>
                  <a:pt x="213" y="4"/>
                  <a:pt x="211" y="10"/>
                </a:cubicBezTo>
                <a:cubicBezTo>
                  <a:pt x="210" y="16"/>
                  <a:pt x="207" y="24"/>
                  <a:pt x="206" y="32"/>
                </a:cubicBezTo>
                <a:cubicBezTo>
                  <a:pt x="205" y="36"/>
                  <a:pt x="204" y="39"/>
                  <a:pt x="204" y="42"/>
                </a:cubicBezTo>
                <a:cubicBezTo>
                  <a:pt x="202" y="43"/>
                  <a:pt x="199" y="43"/>
                  <a:pt x="197" y="43"/>
                </a:cubicBezTo>
                <a:cubicBezTo>
                  <a:pt x="194" y="44"/>
                  <a:pt x="190" y="44"/>
                  <a:pt x="188" y="45"/>
                </a:cubicBezTo>
                <a:cubicBezTo>
                  <a:pt x="186" y="45"/>
                  <a:pt x="185" y="46"/>
                  <a:pt x="185" y="46"/>
                </a:cubicBezTo>
                <a:cubicBezTo>
                  <a:pt x="185" y="46"/>
                  <a:pt x="183" y="46"/>
                  <a:pt x="181" y="47"/>
                </a:cubicBezTo>
                <a:cubicBezTo>
                  <a:pt x="180" y="47"/>
                  <a:pt x="180" y="47"/>
                  <a:pt x="179" y="47"/>
                </a:cubicBezTo>
                <a:cubicBezTo>
                  <a:pt x="178" y="47"/>
                  <a:pt x="178" y="47"/>
                  <a:pt x="177" y="48"/>
                </a:cubicBezTo>
                <a:cubicBezTo>
                  <a:pt x="175" y="48"/>
                  <a:pt x="174" y="48"/>
                  <a:pt x="172" y="49"/>
                </a:cubicBezTo>
                <a:cubicBezTo>
                  <a:pt x="170" y="50"/>
                  <a:pt x="168" y="50"/>
                  <a:pt x="166" y="51"/>
                </a:cubicBezTo>
                <a:cubicBezTo>
                  <a:pt x="164" y="48"/>
                  <a:pt x="162" y="45"/>
                  <a:pt x="160" y="43"/>
                </a:cubicBezTo>
                <a:cubicBezTo>
                  <a:pt x="157" y="39"/>
                  <a:pt x="154" y="36"/>
                  <a:pt x="152" y="33"/>
                </a:cubicBezTo>
                <a:cubicBezTo>
                  <a:pt x="149" y="30"/>
                  <a:pt x="147" y="28"/>
                  <a:pt x="145" y="25"/>
                </a:cubicBezTo>
                <a:cubicBezTo>
                  <a:pt x="141" y="20"/>
                  <a:pt x="138" y="17"/>
                  <a:pt x="138" y="17"/>
                </a:cubicBezTo>
                <a:cubicBezTo>
                  <a:pt x="138" y="17"/>
                  <a:pt x="138" y="18"/>
                  <a:pt x="137" y="18"/>
                </a:cubicBezTo>
                <a:cubicBezTo>
                  <a:pt x="136" y="18"/>
                  <a:pt x="135" y="18"/>
                  <a:pt x="134" y="19"/>
                </a:cubicBezTo>
                <a:cubicBezTo>
                  <a:pt x="132" y="20"/>
                  <a:pt x="130" y="21"/>
                  <a:pt x="127" y="22"/>
                </a:cubicBezTo>
                <a:cubicBezTo>
                  <a:pt x="124" y="24"/>
                  <a:pt x="121" y="25"/>
                  <a:pt x="119" y="26"/>
                </a:cubicBezTo>
                <a:cubicBezTo>
                  <a:pt x="118" y="27"/>
                  <a:pt x="117" y="27"/>
                  <a:pt x="117" y="28"/>
                </a:cubicBezTo>
                <a:cubicBezTo>
                  <a:pt x="116" y="28"/>
                  <a:pt x="116" y="28"/>
                  <a:pt x="116" y="28"/>
                </a:cubicBezTo>
                <a:cubicBezTo>
                  <a:pt x="116" y="28"/>
                  <a:pt x="116" y="32"/>
                  <a:pt x="118" y="38"/>
                </a:cubicBezTo>
                <a:cubicBezTo>
                  <a:pt x="118" y="41"/>
                  <a:pt x="119" y="45"/>
                  <a:pt x="120" y="49"/>
                </a:cubicBezTo>
                <a:cubicBezTo>
                  <a:pt x="120" y="53"/>
                  <a:pt x="121" y="57"/>
                  <a:pt x="122" y="61"/>
                </a:cubicBezTo>
                <a:cubicBezTo>
                  <a:pt x="123" y="64"/>
                  <a:pt x="124" y="67"/>
                  <a:pt x="125" y="71"/>
                </a:cubicBezTo>
                <a:cubicBezTo>
                  <a:pt x="123" y="72"/>
                  <a:pt x="121" y="73"/>
                  <a:pt x="120" y="74"/>
                </a:cubicBezTo>
                <a:cubicBezTo>
                  <a:pt x="116" y="77"/>
                  <a:pt x="114" y="78"/>
                  <a:pt x="112" y="80"/>
                </a:cubicBezTo>
                <a:cubicBezTo>
                  <a:pt x="110" y="81"/>
                  <a:pt x="109" y="82"/>
                  <a:pt x="109" y="82"/>
                </a:cubicBezTo>
                <a:cubicBezTo>
                  <a:pt x="109" y="82"/>
                  <a:pt x="109" y="82"/>
                  <a:pt x="108" y="83"/>
                </a:cubicBezTo>
                <a:cubicBezTo>
                  <a:pt x="108" y="83"/>
                  <a:pt x="107" y="84"/>
                  <a:pt x="106" y="84"/>
                </a:cubicBezTo>
                <a:cubicBezTo>
                  <a:pt x="104" y="86"/>
                  <a:pt x="102" y="88"/>
                  <a:pt x="99" y="91"/>
                </a:cubicBezTo>
                <a:cubicBezTo>
                  <a:pt x="98" y="92"/>
                  <a:pt x="96" y="93"/>
                  <a:pt x="94" y="95"/>
                </a:cubicBezTo>
                <a:cubicBezTo>
                  <a:pt x="91" y="93"/>
                  <a:pt x="88" y="92"/>
                  <a:pt x="85" y="90"/>
                </a:cubicBezTo>
                <a:cubicBezTo>
                  <a:pt x="78" y="87"/>
                  <a:pt x="70" y="83"/>
                  <a:pt x="64" y="81"/>
                </a:cubicBezTo>
                <a:cubicBezTo>
                  <a:pt x="62" y="79"/>
                  <a:pt x="59" y="79"/>
                  <a:pt x="57" y="78"/>
                </a:cubicBezTo>
                <a:cubicBezTo>
                  <a:pt x="56" y="77"/>
                  <a:pt x="55" y="77"/>
                  <a:pt x="55" y="77"/>
                </a:cubicBezTo>
                <a:cubicBezTo>
                  <a:pt x="55" y="77"/>
                  <a:pt x="54" y="78"/>
                  <a:pt x="52" y="80"/>
                </a:cubicBezTo>
                <a:cubicBezTo>
                  <a:pt x="52" y="81"/>
                  <a:pt x="51" y="82"/>
                  <a:pt x="50" y="83"/>
                </a:cubicBezTo>
                <a:cubicBezTo>
                  <a:pt x="49" y="84"/>
                  <a:pt x="48" y="85"/>
                  <a:pt x="47" y="86"/>
                </a:cubicBezTo>
                <a:cubicBezTo>
                  <a:pt x="45" y="89"/>
                  <a:pt x="43" y="91"/>
                  <a:pt x="42" y="93"/>
                </a:cubicBezTo>
                <a:cubicBezTo>
                  <a:pt x="40" y="95"/>
                  <a:pt x="40" y="96"/>
                  <a:pt x="40" y="96"/>
                </a:cubicBezTo>
                <a:cubicBezTo>
                  <a:pt x="40" y="96"/>
                  <a:pt x="42" y="99"/>
                  <a:pt x="46" y="105"/>
                </a:cubicBezTo>
                <a:cubicBezTo>
                  <a:pt x="49" y="110"/>
                  <a:pt x="54" y="116"/>
                  <a:pt x="59" y="123"/>
                </a:cubicBezTo>
                <a:cubicBezTo>
                  <a:pt x="62" y="125"/>
                  <a:pt x="64" y="128"/>
                  <a:pt x="66" y="131"/>
                </a:cubicBezTo>
                <a:cubicBezTo>
                  <a:pt x="65" y="131"/>
                  <a:pt x="65" y="132"/>
                  <a:pt x="64" y="133"/>
                </a:cubicBezTo>
                <a:cubicBezTo>
                  <a:pt x="64" y="134"/>
                  <a:pt x="63" y="135"/>
                  <a:pt x="63" y="136"/>
                </a:cubicBezTo>
                <a:cubicBezTo>
                  <a:pt x="61" y="139"/>
                  <a:pt x="59" y="142"/>
                  <a:pt x="58" y="144"/>
                </a:cubicBezTo>
                <a:cubicBezTo>
                  <a:pt x="57" y="146"/>
                  <a:pt x="57" y="148"/>
                  <a:pt x="57" y="148"/>
                </a:cubicBezTo>
                <a:cubicBezTo>
                  <a:pt x="57" y="148"/>
                  <a:pt x="56" y="149"/>
                  <a:pt x="55" y="151"/>
                </a:cubicBezTo>
                <a:cubicBezTo>
                  <a:pt x="54" y="153"/>
                  <a:pt x="53" y="156"/>
                  <a:pt x="51" y="160"/>
                </a:cubicBezTo>
                <a:cubicBezTo>
                  <a:pt x="51" y="162"/>
                  <a:pt x="50" y="163"/>
                  <a:pt x="49" y="166"/>
                </a:cubicBezTo>
                <a:cubicBezTo>
                  <a:pt x="46" y="165"/>
                  <a:pt x="42" y="165"/>
                  <a:pt x="39" y="165"/>
                </a:cubicBezTo>
                <a:cubicBezTo>
                  <a:pt x="35" y="165"/>
                  <a:pt x="31" y="165"/>
                  <a:pt x="27" y="165"/>
                </a:cubicBezTo>
                <a:cubicBezTo>
                  <a:pt x="25" y="165"/>
                  <a:pt x="23" y="165"/>
                  <a:pt x="21" y="165"/>
                </a:cubicBezTo>
                <a:cubicBezTo>
                  <a:pt x="19" y="166"/>
                  <a:pt x="18" y="166"/>
                  <a:pt x="16" y="166"/>
                </a:cubicBezTo>
                <a:cubicBezTo>
                  <a:pt x="10" y="166"/>
                  <a:pt x="6" y="166"/>
                  <a:pt x="6" y="166"/>
                </a:cubicBezTo>
                <a:cubicBezTo>
                  <a:pt x="6" y="166"/>
                  <a:pt x="5" y="168"/>
                  <a:pt x="5" y="170"/>
                </a:cubicBezTo>
                <a:cubicBezTo>
                  <a:pt x="4" y="171"/>
                  <a:pt x="4" y="171"/>
                  <a:pt x="4" y="172"/>
                </a:cubicBezTo>
                <a:cubicBezTo>
                  <a:pt x="4" y="173"/>
                  <a:pt x="4" y="173"/>
                  <a:pt x="4" y="174"/>
                </a:cubicBezTo>
                <a:cubicBezTo>
                  <a:pt x="3" y="175"/>
                  <a:pt x="3" y="177"/>
                  <a:pt x="3" y="178"/>
                </a:cubicBezTo>
                <a:cubicBezTo>
                  <a:pt x="2" y="180"/>
                  <a:pt x="2" y="181"/>
                  <a:pt x="2" y="183"/>
                </a:cubicBezTo>
                <a:cubicBezTo>
                  <a:pt x="1" y="184"/>
                  <a:pt x="1" y="185"/>
                  <a:pt x="1" y="187"/>
                </a:cubicBezTo>
                <a:cubicBezTo>
                  <a:pt x="0" y="189"/>
                  <a:pt x="0" y="190"/>
                  <a:pt x="0" y="190"/>
                </a:cubicBezTo>
                <a:cubicBezTo>
                  <a:pt x="0" y="190"/>
                  <a:pt x="4" y="192"/>
                  <a:pt x="9" y="195"/>
                </a:cubicBezTo>
                <a:cubicBezTo>
                  <a:pt x="15" y="198"/>
                  <a:pt x="22" y="202"/>
                  <a:pt x="30" y="206"/>
                </a:cubicBezTo>
                <a:cubicBezTo>
                  <a:pt x="33" y="207"/>
                  <a:pt x="36" y="209"/>
                  <a:pt x="39" y="210"/>
                </a:cubicBezTo>
                <a:cubicBezTo>
                  <a:pt x="39" y="212"/>
                  <a:pt x="39" y="214"/>
                  <a:pt x="39" y="216"/>
                </a:cubicBezTo>
                <a:cubicBezTo>
                  <a:pt x="38" y="220"/>
                  <a:pt x="38" y="223"/>
                  <a:pt x="38" y="226"/>
                </a:cubicBezTo>
                <a:cubicBezTo>
                  <a:pt x="38" y="228"/>
                  <a:pt x="38" y="229"/>
                  <a:pt x="38" y="229"/>
                </a:cubicBezTo>
                <a:cubicBezTo>
                  <a:pt x="38" y="229"/>
                  <a:pt x="38" y="231"/>
                  <a:pt x="38" y="233"/>
                </a:cubicBezTo>
                <a:cubicBezTo>
                  <a:pt x="38" y="235"/>
                  <a:pt x="38" y="239"/>
                  <a:pt x="39" y="243"/>
                </a:cubicBezTo>
                <a:cubicBezTo>
                  <a:pt x="39" y="245"/>
                  <a:pt x="39" y="247"/>
                  <a:pt x="39" y="249"/>
                </a:cubicBezTo>
                <a:cubicBezTo>
                  <a:pt x="36" y="250"/>
                  <a:pt x="33" y="252"/>
                  <a:pt x="30" y="253"/>
                </a:cubicBezTo>
                <a:cubicBezTo>
                  <a:pt x="22" y="257"/>
                  <a:pt x="15" y="260"/>
                  <a:pt x="9" y="263"/>
                </a:cubicBezTo>
                <a:cubicBezTo>
                  <a:pt x="4" y="266"/>
                  <a:pt x="0" y="268"/>
                  <a:pt x="0" y="268"/>
                </a:cubicBezTo>
                <a:cubicBezTo>
                  <a:pt x="0" y="268"/>
                  <a:pt x="0" y="270"/>
                  <a:pt x="1" y="272"/>
                </a:cubicBezTo>
                <a:cubicBezTo>
                  <a:pt x="1" y="273"/>
                  <a:pt x="1" y="275"/>
                  <a:pt x="2" y="276"/>
                </a:cubicBezTo>
                <a:cubicBezTo>
                  <a:pt x="2" y="277"/>
                  <a:pt x="2" y="279"/>
                  <a:pt x="3" y="280"/>
                </a:cubicBezTo>
                <a:cubicBezTo>
                  <a:pt x="3" y="282"/>
                  <a:pt x="3" y="283"/>
                  <a:pt x="4" y="285"/>
                </a:cubicBezTo>
                <a:cubicBezTo>
                  <a:pt x="4" y="286"/>
                  <a:pt x="4" y="286"/>
                  <a:pt x="4" y="287"/>
                </a:cubicBezTo>
                <a:cubicBezTo>
                  <a:pt x="4" y="287"/>
                  <a:pt x="4" y="288"/>
                  <a:pt x="5" y="289"/>
                </a:cubicBezTo>
                <a:cubicBezTo>
                  <a:pt x="5" y="291"/>
                  <a:pt x="6" y="292"/>
                  <a:pt x="6" y="292"/>
                </a:cubicBezTo>
                <a:cubicBezTo>
                  <a:pt x="6" y="292"/>
                  <a:pt x="10" y="293"/>
                  <a:pt x="16" y="293"/>
                </a:cubicBezTo>
                <a:cubicBezTo>
                  <a:pt x="18" y="293"/>
                  <a:pt x="19" y="293"/>
                  <a:pt x="21" y="293"/>
                </a:cubicBezTo>
                <a:cubicBezTo>
                  <a:pt x="23" y="293"/>
                  <a:pt x="25" y="293"/>
                  <a:pt x="27" y="293"/>
                </a:cubicBezTo>
                <a:cubicBezTo>
                  <a:pt x="31" y="293"/>
                  <a:pt x="35" y="294"/>
                  <a:pt x="39" y="293"/>
                </a:cubicBezTo>
                <a:cubicBezTo>
                  <a:pt x="42" y="293"/>
                  <a:pt x="46" y="293"/>
                  <a:pt x="49" y="293"/>
                </a:cubicBezTo>
                <a:cubicBezTo>
                  <a:pt x="50" y="295"/>
                  <a:pt x="51" y="297"/>
                  <a:pt x="51" y="299"/>
                </a:cubicBezTo>
                <a:cubicBezTo>
                  <a:pt x="53" y="303"/>
                  <a:pt x="54" y="306"/>
                  <a:pt x="55" y="308"/>
                </a:cubicBezTo>
                <a:cubicBezTo>
                  <a:pt x="56" y="310"/>
                  <a:pt x="57" y="311"/>
                  <a:pt x="57" y="311"/>
                </a:cubicBezTo>
                <a:cubicBezTo>
                  <a:pt x="57" y="311"/>
                  <a:pt x="57" y="312"/>
                  <a:pt x="58" y="314"/>
                </a:cubicBezTo>
                <a:cubicBezTo>
                  <a:pt x="59" y="316"/>
                  <a:pt x="61" y="319"/>
                  <a:pt x="63" y="323"/>
                </a:cubicBezTo>
                <a:cubicBezTo>
                  <a:pt x="63" y="324"/>
                  <a:pt x="64" y="325"/>
                  <a:pt x="64" y="325"/>
                </a:cubicBezTo>
                <a:cubicBezTo>
                  <a:pt x="65" y="326"/>
                  <a:pt x="65" y="327"/>
                  <a:pt x="66" y="328"/>
                </a:cubicBezTo>
                <a:cubicBezTo>
                  <a:pt x="64" y="331"/>
                  <a:pt x="62" y="333"/>
                  <a:pt x="59" y="336"/>
                </a:cubicBezTo>
                <a:cubicBezTo>
                  <a:pt x="54" y="342"/>
                  <a:pt x="49" y="349"/>
                  <a:pt x="46" y="354"/>
                </a:cubicBezTo>
                <a:cubicBezTo>
                  <a:pt x="42" y="359"/>
                  <a:pt x="40" y="363"/>
                  <a:pt x="40" y="363"/>
                </a:cubicBezTo>
                <a:cubicBezTo>
                  <a:pt x="40" y="363"/>
                  <a:pt x="40" y="364"/>
                  <a:pt x="42" y="366"/>
                </a:cubicBezTo>
                <a:cubicBezTo>
                  <a:pt x="43" y="368"/>
                  <a:pt x="45" y="370"/>
                  <a:pt x="47" y="373"/>
                </a:cubicBezTo>
                <a:cubicBezTo>
                  <a:pt x="48" y="374"/>
                  <a:pt x="49" y="375"/>
                  <a:pt x="50" y="376"/>
                </a:cubicBezTo>
                <a:cubicBezTo>
                  <a:pt x="51" y="377"/>
                  <a:pt x="52" y="378"/>
                  <a:pt x="52" y="379"/>
                </a:cubicBezTo>
                <a:cubicBezTo>
                  <a:pt x="54" y="381"/>
                  <a:pt x="55" y="382"/>
                  <a:pt x="55" y="382"/>
                </a:cubicBezTo>
                <a:cubicBezTo>
                  <a:pt x="55" y="382"/>
                  <a:pt x="56" y="382"/>
                  <a:pt x="57" y="381"/>
                </a:cubicBezTo>
                <a:cubicBezTo>
                  <a:pt x="59" y="380"/>
                  <a:pt x="62" y="379"/>
                  <a:pt x="64" y="378"/>
                </a:cubicBezTo>
                <a:cubicBezTo>
                  <a:pt x="70" y="376"/>
                  <a:pt x="78" y="372"/>
                  <a:pt x="85" y="369"/>
                </a:cubicBezTo>
                <a:cubicBezTo>
                  <a:pt x="88" y="367"/>
                  <a:pt x="91" y="365"/>
                  <a:pt x="94" y="364"/>
                </a:cubicBezTo>
                <a:cubicBezTo>
                  <a:pt x="96" y="365"/>
                  <a:pt x="98" y="367"/>
                  <a:pt x="99" y="368"/>
                </a:cubicBezTo>
                <a:cubicBezTo>
                  <a:pt x="102" y="371"/>
                  <a:pt x="104" y="373"/>
                  <a:pt x="106" y="374"/>
                </a:cubicBezTo>
                <a:cubicBezTo>
                  <a:pt x="107" y="375"/>
                  <a:pt x="108" y="376"/>
                  <a:pt x="108" y="376"/>
                </a:cubicBezTo>
                <a:cubicBezTo>
                  <a:pt x="109" y="376"/>
                  <a:pt x="109" y="377"/>
                  <a:pt x="109" y="377"/>
                </a:cubicBezTo>
                <a:cubicBezTo>
                  <a:pt x="109" y="377"/>
                  <a:pt x="110" y="377"/>
                  <a:pt x="112" y="379"/>
                </a:cubicBezTo>
                <a:cubicBezTo>
                  <a:pt x="114" y="380"/>
                  <a:pt x="116" y="382"/>
                  <a:pt x="120" y="385"/>
                </a:cubicBezTo>
                <a:cubicBezTo>
                  <a:pt x="121" y="386"/>
                  <a:pt x="123" y="387"/>
                  <a:pt x="125" y="388"/>
                </a:cubicBezTo>
                <a:cubicBezTo>
                  <a:pt x="124" y="391"/>
                  <a:pt x="123" y="395"/>
                  <a:pt x="122" y="398"/>
                </a:cubicBezTo>
                <a:cubicBezTo>
                  <a:pt x="121" y="402"/>
                  <a:pt x="120" y="406"/>
                  <a:pt x="120" y="410"/>
                </a:cubicBezTo>
                <a:cubicBezTo>
                  <a:pt x="119" y="414"/>
                  <a:pt x="118" y="417"/>
                  <a:pt x="118" y="420"/>
                </a:cubicBezTo>
                <a:cubicBezTo>
                  <a:pt x="116" y="427"/>
                  <a:pt x="116" y="431"/>
                  <a:pt x="116" y="431"/>
                </a:cubicBezTo>
                <a:cubicBezTo>
                  <a:pt x="116" y="431"/>
                  <a:pt x="116" y="431"/>
                  <a:pt x="117" y="431"/>
                </a:cubicBezTo>
                <a:cubicBezTo>
                  <a:pt x="117" y="432"/>
                  <a:pt x="118" y="432"/>
                  <a:pt x="119" y="432"/>
                </a:cubicBezTo>
                <a:cubicBezTo>
                  <a:pt x="121" y="434"/>
                  <a:pt x="124" y="435"/>
                  <a:pt x="127" y="436"/>
                </a:cubicBezTo>
                <a:cubicBezTo>
                  <a:pt x="130" y="438"/>
                  <a:pt x="132" y="439"/>
                  <a:pt x="134" y="440"/>
                </a:cubicBezTo>
                <a:cubicBezTo>
                  <a:pt x="135" y="440"/>
                  <a:pt x="136" y="441"/>
                  <a:pt x="137" y="441"/>
                </a:cubicBezTo>
                <a:cubicBezTo>
                  <a:pt x="138" y="441"/>
                  <a:pt x="138" y="441"/>
                  <a:pt x="138" y="441"/>
                </a:cubicBezTo>
                <a:cubicBezTo>
                  <a:pt x="138" y="441"/>
                  <a:pt x="141" y="438"/>
                  <a:pt x="145" y="434"/>
                </a:cubicBezTo>
                <a:cubicBezTo>
                  <a:pt x="147" y="431"/>
                  <a:pt x="149" y="428"/>
                  <a:pt x="152" y="426"/>
                </a:cubicBezTo>
                <a:cubicBezTo>
                  <a:pt x="154" y="423"/>
                  <a:pt x="157" y="419"/>
                  <a:pt x="160" y="416"/>
                </a:cubicBezTo>
                <a:cubicBezTo>
                  <a:pt x="162" y="413"/>
                  <a:pt x="164" y="410"/>
                  <a:pt x="166" y="408"/>
                </a:cubicBezTo>
                <a:cubicBezTo>
                  <a:pt x="168" y="408"/>
                  <a:pt x="170" y="409"/>
                  <a:pt x="172" y="410"/>
                </a:cubicBezTo>
                <a:cubicBezTo>
                  <a:pt x="174" y="410"/>
                  <a:pt x="175" y="411"/>
                  <a:pt x="177" y="411"/>
                </a:cubicBezTo>
                <a:cubicBezTo>
                  <a:pt x="178" y="411"/>
                  <a:pt x="178" y="412"/>
                  <a:pt x="179" y="412"/>
                </a:cubicBezTo>
                <a:cubicBezTo>
                  <a:pt x="180" y="412"/>
                  <a:pt x="180" y="412"/>
                  <a:pt x="181" y="412"/>
                </a:cubicBezTo>
                <a:cubicBezTo>
                  <a:pt x="183" y="413"/>
                  <a:pt x="185" y="413"/>
                  <a:pt x="185" y="413"/>
                </a:cubicBezTo>
                <a:cubicBezTo>
                  <a:pt x="185" y="413"/>
                  <a:pt x="186" y="413"/>
                  <a:pt x="188" y="414"/>
                </a:cubicBezTo>
                <a:cubicBezTo>
                  <a:pt x="190" y="414"/>
                  <a:pt x="194" y="415"/>
                  <a:pt x="197" y="416"/>
                </a:cubicBezTo>
                <a:cubicBezTo>
                  <a:pt x="199" y="416"/>
                  <a:pt x="202" y="416"/>
                  <a:pt x="204" y="416"/>
                </a:cubicBezTo>
                <a:cubicBezTo>
                  <a:pt x="204" y="420"/>
                  <a:pt x="205" y="423"/>
                  <a:pt x="206" y="427"/>
                </a:cubicBezTo>
                <a:cubicBezTo>
                  <a:pt x="207" y="435"/>
                  <a:pt x="210" y="443"/>
                  <a:pt x="211" y="449"/>
                </a:cubicBezTo>
                <a:cubicBezTo>
                  <a:pt x="213" y="455"/>
                  <a:pt x="214" y="459"/>
                  <a:pt x="214" y="459"/>
                </a:cubicBezTo>
                <a:cubicBezTo>
                  <a:pt x="214" y="459"/>
                  <a:pt x="215" y="459"/>
                  <a:pt x="215" y="459"/>
                </a:cubicBezTo>
                <a:cubicBezTo>
                  <a:pt x="216" y="459"/>
                  <a:pt x="217" y="459"/>
                  <a:pt x="218" y="459"/>
                </a:cubicBezTo>
                <a:cubicBezTo>
                  <a:pt x="220" y="459"/>
                  <a:pt x="223" y="459"/>
                  <a:pt x="226" y="459"/>
                </a:cubicBezTo>
                <a:cubicBezTo>
                  <a:pt x="229" y="459"/>
                  <a:pt x="233" y="459"/>
                  <a:pt x="235" y="459"/>
                </a:cubicBezTo>
                <a:cubicBezTo>
                  <a:pt x="236" y="459"/>
                  <a:pt x="237" y="459"/>
                  <a:pt x="238" y="459"/>
                </a:cubicBezTo>
                <a:cubicBezTo>
                  <a:pt x="238" y="459"/>
                  <a:pt x="239" y="459"/>
                  <a:pt x="239" y="459"/>
                </a:cubicBezTo>
                <a:cubicBezTo>
                  <a:pt x="239" y="459"/>
                  <a:pt x="240" y="455"/>
                  <a:pt x="242" y="449"/>
                </a:cubicBezTo>
                <a:cubicBezTo>
                  <a:pt x="243" y="443"/>
                  <a:pt x="245" y="435"/>
                  <a:pt x="247" y="427"/>
                </a:cubicBezTo>
                <a:cubicBezTo>
                  <a:pt x="248" y="423"/>
                  <a:pt x="249" y="420"/>
                  <a:pt x="249" y="416"/>
                </a:cubicBezTo>
                <a:cubicBezTo>
                  <a:pt x="251" y="416"/>
                  <a:pt x="253" y="416"/>
                  <a:pt x="255" y="416"/>
                </a:cubicBezTo>
                <a:cubicBezTo>
                  <a:pt x="259" y="415"/>
                  <a:pt x="263" y="414"/>
                  <a:pt x="265" y="414"/>
                </a:cubicBezTo>
                <a:cubicBezTo>
                  <a:pt x="267" y="413"/>
                  <a:pt x="268" y="413"/>
                  <a:pt x="268" y="413"/>
                </a:cubicBezTo>
                <a:cubicBezTo>
                  <a:pt x="268" y="413"/>
                  <a:pt x="270" y="413"/>
                  <a:pt x="272" y="412"/>
                </a:cubicBezTo>
                <a:cubicBezTo>
                  <a:pt x="272" y="412"/>
                  <a:pt x="273" y="412"/>
                  <a:pt x="274" y="412"/>
                </a:cubicBezTo>
                <a:cubicBezTo>
                  <a:pt x="274" y="412"/>
                  <a:pt x="275" y="411"/>
                  <a:pt x="276" y="411"/>
                </a:cubicBezTo>
                <a:cubicBezTo>
                  <a:pt x="277" y="411"/>
                  <a:pt x="279" y="410"/>
                  <a:pt x="281" y="410"/>
                </a:cubicBezTo>
                <a:cubicBezTo>
                  <a:pt x="283" y="409"/>
                  <a:pt x="285" y="408"/>
                  <a:pt x="287" y="408"/>
                </a:cubicBezTo>
                <a:cubicBezTo>
                  <a:pt x="289" y="410"/>
                  <a:pt x="291" y="413"/>
                  <a:pt x="293" y="416"/>
                </a:cubicBezTo>
                <a:cubicBezTo>
                  <a:pt x="296" y="419"/>
                  <a:pt x="298" y="423"/>
                  <a:pt x="301" y="426"/>
                </a:cubicBezTo>
                <a:cubicBezTo>
                  <a:pt x="303" y="428"/>
                  <a:pt x="306" y="431"/>
                  <a:pt x="308" y="434"/>
                </a:cubicBezTo>
                <a:cubicBezTo>
                  <a:pt x="312" y="438"/>
                  <a:pt x="315" y="441"/>
                  <a:pt x="315" y="441"/>
                </a:cubicBezTo>
                <a:cubicBezTo>
                  <a:pt x="315" y="441"/>
                  <a:pt x="315" y="441"/>
                  <a:pt x="316" y="441"/>
                </a:cubicBezTo>
                <a:cubicBezTo>
                  <a:pt x="317" y="441"/>
                  <a:pt x="317" y="440"/>
                  <a:pt x="318" y="440"/>
                </a:cubicBezTo>
                <a:cubicBezTo>
                  <a:pt x="321" y="439"/>
                  <a:pt x="323" y="438"/>
                  <a:pt x="326" y="436"/>
                </a:cubicBezTo>
                <a:cubicBezTo>
                  <a:pt x="329" y="435"/>
                  <a:pt x="332" y="434"/>
                  <a:pt x="334" y="432"/>
                </a:cubicBezTo>
                <a:cubicBezTo>
                  <a:pt x="335" y="432"/>
                  <a:pt x="335" y="432"/>
                  <a:pt x="336" y="431"/>
                </a:cubicBezTo>
                <a:cubicBezTo>
                  <a:pt x="337" y="431"/>
                  <a:pt x="337" y="431"/>
                  <a:pt x="337" y="431"/>
                </a:cubicBezTo>
                <a:cubicBezTo>
                  <a:pt x="337" y="431"/>
                  <a:pt x="336" y="427"/>
                  <a:pt x="335" y="420"/>
                </a:cubicBezTo>
                <a:cubicBezTo>
                  <a:pt x="335" y="417"/>
                  <a:pt x="334" y="414"/>
                  <a:pt x="333" y="410"/>
                </a:cubicBezTo>
                <a:cubicBezTo>
                  <a:pt x="333" y="406"/>
                  <a:pt x="332" y="402"/>
                  <a:pt x="331" y="398"/>
                </a:cubicBezTo>
                <a:cubicBezTo>
                  <a:pt x="330" y="395"/>
                  <a:pt x="329" y="391"/>
                  <a:pt x="328" y="388"/>
                </a:cubicBezTo>
                <a:cubicBezTo>
                  <a:pt x="330" y="387"/>
                  <a:pt x="332" y="386"/>
                  <a:pt x="333" y="385"/>
                </a:cubicBezTo>
                <a:cubicBezTo>
                  <a:pt x="337" y="382"/>
                  <a:pt x="339" y="380"/>
                  <a:pt x="341" y="379"/>
                </a:cubicBezTo>
                <a:cubicBezTo>
                  <a:pt x="343" y="377"/>
                  <a:pt x="344" y="377"/>
                  <a:pt x="344" y="377"/>
                </a:cubicBezTo>
                <a:cubicBezTo>
                  <a:pt x="344" y="377"/>
                  <a:pt x="344" y="376"/>
                  <a:pt x="345" y="376"/>
                </a:cubicBezTo>
                <a:cubicBezTo>
                  <a:pt x="345" y="376"/>
                  <a:pt x="346" y="375"/>
                  <a:pt x="347" y="374"/>
                </a:cubicBezTo>
                <a:cubicBezTo>
                  <a:pt x="348" y="373"/>
                  <a:pt x="351" y="371"/>
                  <a:pt x="354" y="368"/>
                </a:cubicBezTo>
                <a:cubicBezTo>
                  <a:pt x="355" y="367"/>
                  <a:pt x="357" y="365"/>
                  <a:pt x="359" y="364"/>
                </a:cubicBezTo>
                <a:cubicBezTo>
                  <a:pt x="361" y="365"/>
                  <a:pt x="365" y="367"/>
                  <a:pt x="368" y="369"/>
                </a:cubicBezTo>
                <a:cubicBezTo>
                  <a:pt x="375" y="372"/>
                  <a:pt x="383" y="376"/>
                  <a:pt x="388" y="378"/>
                </a:cubicBezTo>
                <a:cubicBezTo>
                  <a:pt x="391" y="379"/>
                  <a:pt x="394" y="380"/>
                  <a:pt x="395" y="381"/>
                </a:cubicBezTo>
                <a:cubicBezTo>
                  <a:pt x="397" y="382"/>
                  <a:pt x="398" y="382"/>
                  <a:pt x="398" y="382"/>
                </a:cubicBezTo>
                <a:cubicBezTo>
                  <a:pt x="398" y="382"/>
                  <a:pt x="399" y="381"/>
                  <a:pt x="401" y="379"/>
                </a:cubicBezTo>
                <a:cubicBezTo>
                  <a:pt x="401" y="378"/>
                  <a:pt x="402" y="377"/>
                  <a:pt x="403" y="376"/>
                </a:cubicBezTo>
                <a:cubicBezTo>
                  <a:pt x="404" y="375"/>
                  <a:pt x="405" y="374"/>
                  <a:pt x="406" y="373"/>
                </a:cubicBezTo>
                <a:cubicBezTo>
                  <a:pt x="408" y="370"/>
                  <a:pt x="410" y="368"/>
                  <a:pt x="411" y="366"/>
                </a:cubicBezTo>
                <a:cubicBezTo>
                  <a:pt x="412" y="364"/>
                  <a:pt x="413" y="363"/>
                  <a:pt x="413" y="363"/>
                </a:cubicBezTo>
                <a:cubicBezTo>
                  <a:pt x="413" y="363"/>
                  <a:pt x="411" y="359"/>
                  <a:pt x="407" y="354"/>
                </a:cubicBezTo>
                <a:cubicBezTo>
                  <a:pt x="404" y="349"/>
                  <a:pt x="399" y="342"/>
                  <a:pt x="394" y="336"/>
                </a:cubicBezTo>
                <a:cubicBezTo>
                  <a:pt x="391" y="333"/>
                  <a:pt x="389" y="331"/>
                  <a:pt x="387" y="328"/>
                </a:cubicBezTo>
                <a:cubicBezTo>
                  <a:pt x="387" y="327"/>
                  <a:pt x="388" y="326"/>
                  <a:pt x="389" y="325"/>
                </a:cubicBezTo>
                <a:cubicBezTo>
                  <a:pt x="389" y="325"/>
                  <a:pt x="390" y="324"/>
                  <a:pt x="390" y="323"/>
                </a:cubicBezTo>
                <a:cubicBezTo>
                  <a:pt x="392" y="319"/>
                  <a:pt x="394" y="316"/>
                  <a:pt x="395" y="314"/>
                </a:cubicBezTo>
                <a:cubicBezTo>
                  <a:pt x="396" y="312"/>
                  <a:pt x="396" y="311"/>
                  <a:pt x="396" y="311"/>
                </a:cubicBezTo>
                <a:cubicBezTo>
                  <a:pt x="396" y="311"/>
                  <a:pt x="397" y="310"/>
                  <a:pt x="398" y="308"/>
                </a:cubicBezTo>
                <a:cubicBezTo>
                  <a:pt x="399" y="306"/>
                  <a:pt x="400" y="303"/>
                  <a:pt x="402" y="299"/>
                </a:cubicBezTo>
                <a:cubicBezTo>
                  <a:pt x="402" y="297"/>
                  <a:pt x="403" y="295"/>
                  <a:pt x="404" y="293"/>
                </a:cubicBezTo>
                <a:cubicBezTo>
                  <a:pt x="407" y="293"/>
                  <a:pt x="411" y="293"/>
                  <a:pt x="414" y="293"/>
                </a:cubicBezTo>
                <a:cubicBezTo>
                  <a:pt x="418" y="294"/>
                  <a:pt x="422" y="293"/>
                  <a:pt x="426" y="293"/>
                </a:cubicBezTo>
                <a:cubicBezTo>
                  <a:pt x="428" y="293"/>
                  <a:pt x="430" y="293"/>
                  <a:pt x="432" y="293"/>
                </a:cubicBezTo>
                <a:cubicBezTo>
                  <a:pt x="434" y="293"/>
                  <a:pt x="435" y="293"/>
                  <a:pt x="437" y="293"/>
                </a:cubicBezTo>
                <a:cubicBezTo>
                  <a:pt x="443" y="293"/>
                  <a:pt x="447" y="292"/>
                  <a:pt x="447" y="292"/>
                </a:cubicBezTo>
                <a:cubicBezTo>
                  <a:pt x="447" y="292"/>
                  <a:pt x="448" y="291"/>
                  <a:pt x="448" y="289"/>
                </a:cubicBezTo>
                <a:cubicBezTo>
                  <a:pt x="448" y="288"/>
                  <a:pt x="449" y="287"/>
                  <a:pt x="449" y="287"/>
                </a:cubicBezTo>
                <a:cubicBezTo>
                  <a:pt x="449" y="286"/>
                  <a:pt x="449" y="286"/>
                  <a:pt x="449" y="285"/>
                </a:cubicBezTo>
                <a:cubicBezTo>
                  <a:pt x="450" y="283"/>
                  <a:pt x="450" y="282"/>
                  <a:pt x="450" y="280"/>
                </a:cubicBezTo>
                <a:cubicBezTo>
                  <a:pt x="451" y="279"/>
                  <a:pt x="451" y="277"/>
                  <a:pt x="451" y="276"/>
                </a:cubicBezTo>
                <a:cubicBezTo>
                  <a:pt x="452" y="275"/>
                  <a:pt x="452" y="273"/>
                  <a:pt x="452" y="272"/>
                </a:cubicBezTo>
                <a:cubicBezTo>
                  <a:pt x="452" y="270"/>
                  <a:pt x="453" y="268"/>
                  <a:pt x="453" y="268"/>
                </a:cubicBezTo>
                <a:cubicBezTo>
                  <a:pt x="453" y="268"/>
                  <a:pt x="449" y="266"/>
                  <a:pt x="444" y="263"/>
                </a:cubicBezTo>
                <a:cubicBezTo>
                  <a:pt x="438" y="260"/>
                  <a:pt x="431" y="257"/>
                  <a:pt x="423" y="253"/>
                </a:cubicBezTo>
                <a:close/>
                <a:moveTo>
                  <a:pt x="226" y="368"/>
                </a:moveTo>
                <a:cubicBezTo>
                  <a:pt x="150" y="368"/>
                  <a:pt x="88" y="306"/>
                  <a:pt x="88" y="229"/>
                </a:cubicBezTo>
                <a:cubicBezTo>
                  <a:pt x="88" y="153"/>
                  <a:pt x="150" y="91"/>
                  <a:pt x="226" y="91"/>
                </a:cubicBezTo>
                <a:cubicBezTo>
                  <a:pt x="303" y="91"/>
                  <a:pt x="365" y="153"/>
                  <a:pt x="365" y="229"/>
                </a:cubicBezTo>
                <a:cubicBezTo>
                  <a:pt x="365" y="306"/>
                  <a:pt x="303" y="368"/>
                  <a:pt x="226" y="36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02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" name="任意多边形: 形状 6"/>
          <p:cNvSpPr/>
          <p:nvPr/>
        </p:nvSpPr>
        <p:spPr bwMode="auto">
          <a:xfrm>
            <a:off x="5784057" y="3568699"/>
            <a:ext cx="1885951" cy="1912939"/>
          </a:xfrm>
          <a:custGeom>
            <a:avLst/>
            <a:gdLst>
              <a:gd name="T0" fmla="*/ 460 w 502"/>
              <a:gd name="T1" fmla="*/ 254 h 509"/>
              <a:gd name="T2" fmla="*/ 492 w 502"/>
              <a:gd name="T3" fmla="*/ 217 h 509"/>
              <a:gd name="T4" fmla="*/ 498 w 502"/>
              <a:gd name="T5" fmla="*/ 193 h 509"/>
              <a:gd name="T6" fmla="*/ 479 w 502"/>
              <a:gd name="T7" fmla="*/ 183 h 509"/>
              <a:gd name="T8" fmla="*/ 441 w 502"/>
              <a:gd name="T9" fmla="*/ 167 h 509"/>
              <a:gd name="T10" fmla="*/ 429 w 502"/>
              <a:gd name="T11" fmla="*/ 145 h 509"/>
              <a:gd name="T12" fmla="*/ 450 w 502"/>
              <a:gd name="T13" fmla="*/ 95 h 509"/>
              <a:gd name="T14" fmla="*/ 431 w 502"/>
              <a:gd name="T15" fmla="*/ 89 h 509"/>
              <a:gd name="T16" fmla="*/ 382 w 502"/>
              <a:gd name="T17" fmla="*/ 92 h 509"/>
              <a:gd name="T18" fmla="*/ 367 w 502"/>
              <a:gd name="T19" fmla="*/ 67 h 509"/>
              <a:gd name="T20" fmla="*/ 370 w 502"/>
              <a:gd name="T21" fmla="*/ 29 h 509"/>
              <a:gd name="T22" fmla="*/ 341 w 502"/>
              <a:gd name="T23" fmla="*/ 28 h 509"/>
              <a:gd name="T24" fmla="*/ 306 w 502"/>
              <a:gd name="T25" fmla="*/ 53 h 509"/>
              <a:gd name="T26" fmla="*/ 283 w 502"/>
              <a:gd name="T27" fmla="*/ 48 h 509"/>
              <a:gd name="T28" fmla="*/ 263 w 502"/>
              <a:gd name="T29" fmla="*/ 0 h 509"/>
              <a:gd name="T30" fmla="*/ 238 w 502"/>
              <a:gd name="T31" fmla="*/ 0 h 509"/>
              <a:gd name="T32" fmla="*/ 209 w 502"/>
              <a:gd name="T33" fmla="*/ 50 h 509"/>
              <a:gd name="T34" fmla="*/ 191 w 502"/>
              <a:gd name="T35" fmla="*/ 54 h 509"/>
              <a:gd name="T36" fmla="*/ 153 w 502"/>
              <a:gd name="T37" fmla="*/ 19 h 509"/>
              <a:gd name="T38" fmla="*/ 130 w 502"/>
              <a:gd name="T39" fmla="*/ 31 h 509"/>
              <a:gd name="T40" fmla="*/ 139 w 502"/>
              <a:gd name="T41" fmla="*/ 78 h 509"/>
              <a:gd name="T42" fmla="*/ 118 w 502"/>
              <a:gd name="T43" fmla="*/ 93 h 509"/>
              <a:gd name="T44" fmla="*/ 64 w 502"/>
              <a:gd name="T45" fmla="*/ 86 h 509"/>
              <a:gd name="T46" fmla="*/ 47 w 502"/>
              <a:gd name="T47" fmla="*/ 103 h 509"/>
              <a:gd name="T48" fmla="*/ 72 w 502"/>
              <a:gd name="T49" fmla="*/ 148 h 509"/>
              <a:gd name="T50" fmla="*/ 57 w 502"/>
              <a:gd name="T51" fmla="*/ 177 h 509"/>
              <a:gd name="T52" fmla="*/ 18 w 502"/>
              <a:gd name="T53" fmla="*/ 184 h 509"/>
              <a:gd name="T54" fmla="*/ 3 w 502"/>
              <a:gd name="T55" fmla="*/ 198 h 509"/>
              <a:gd name="T56" fmla="*/ 33 w 502"/>
              <a:gd name="T57" fmla="*/ 228 h 509"/>
              <a:gd name="T58" fmla="*/ 42 w 502"/>
              <a:gd name="T59" fmla="*/ 258 h 509"/>
              <a:gd name="T60" fmla="*/ 0 w 502"/>
              <a:gd name="T61" fmla="*/ 297 h 509"/>
              <a:gd name="T62" fmla="*/ 5 w 502"/>
              <a:gd name="T63" fmla="*/ 318 h 509"/>
              <a:gd name="T64" fmla="*/ 30 w 502"/>
              <a:gd name="T65" fmla="*/ 325 h 509"/>
              <a:gd name="T66" fmla="*/ 63 w 502"/>
              <a:gd name="T67" fmla="*/ 345 h 509"/>
              <a:gd name="T68" fmla="*/ 66 w 502"/>
              <a:gd name="T69" fmla="*/ 372 h 509"/>
              <a:gd name="T70" fmla="*/ 55 w 502"/>
              <a:gd name="T71" fmla="*/ 417 h 509"/>
              <a:gd name="T72" fmla="*/ 95 w 502"/>
              <a:gd name="T73" fmla="*/ 408 h 509"/>
              <a:gd name="T74" fmla="*/ 121 w 502"/>
              <a:gd name="T75" fmla="*/ 417 h 509"/>
              <a:gd name="T76" fmla="*/ 133 w 502"/>
              <a:gd name="T77" fmla="*/ 454 h 509"/>
              <a:gd name="T78" fmla="*/ 141 w 502"/>
              <a:gd name="T79" fmla="*/ 483 h 509"/>
              <a:gd name="T80" fmla="*/ 169 w 502"/>
              <a:gd name="T81" fmla="*/ 471 h 509"/>
              <a:gd name="T82" fmla="*/ 199 w 502"/>
              <a:gd name="T83" fmla="*/ 456 h 509"/>
              <a:gd name="T84" fmla="*/ 226 w 502"/>
              <a:gd name="T85" fmla="*/ 461 h 509"/>
              <a:gd name="T86" fmla="*/ 242 w 502"/>
              <a:gd name="T87" fmla="*/ 508 h 509"/>
              <a:gd name="T88" fmla="*/ 268 w 502"/>
              <a:gd name="T89" fmla="*/ 497 h 509"/>
              <a:gd name="T90" fmla="*/ 298 w 502"/>
              <a:gd name="T91" fmla="*/ 458 h 509"/>
              <a:gd name="T92" fmla="*/ 318 w 502"/>
              <a:gd name="T93" fmla="*/ 452 h 509"/>
              <a:gd name="T94" fmla="*/ 350 w 502"/>
              <a:gd name="T95" fmla="*/ 489 h 509"/>
              <a:gd name="T96" fmla="*/ 374 w 502"/>
              <a:gd name="T97" fmla="*/ 477 h 509"/>
              <a:gd name="T98" fmla="*/ 370 w 502"/>
              <a:gd name="T99" fmla="*/ 426 h 509"/>
              <a:gd name="T100" fmla="*/ 392 w 502"/>
              <a:gd name="T101" fmla="*/ 408 h 509"/>
              <a:gd name="T102" fmla="*/ 441 w 502"/>
              <a:gd name="T103" fmla="*/ 423 h 509"/>
              <a:gd name="T104" fmla="*/ 458 w 502"/>
              <a:gd name="T105" fmla="*/ 402 h 509"/>
              <a:gd name="T106" fmla="*/ 432 w 502"/>
              <a:gd name="T107" fmla="*/ 358 h 509"/>
              <a:gd name="T108" fmla="*/ 448 w 502"/>
              <a:gd name="T109" fmla="*/ 325 h 509"/>
              <a:gd name="T110" fmla="*/ 496 w 502"/>
              <a:gd name="T111" fmla="*/ 324 h 509"/>
              <a:gd name="T112" fmla="*/ 500 w 502"/>
              <a:gd name="T113" fmla="*/ 306 h 509"/>
              <a:gd name="T114" fmla="*/ 251 w 502"/>
              <a:gd name="T115" fmla="*/ 408 h 5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02" h="509">
                <a:moveTo>
                  <a:pt x="469" y="280"/>
                </a:moveTo>
                <a:cubicBezTo>
                  <a:pt x="466" y="279"/>
                  <a:pt x="462" y="277"/>
                  <a:pt x="459" y="276"/>
                </a:cubicBezTo>
                <a:cubicBezTo>
                  <a:pt x="459" y="273"/>
                  <a:pt x="459" y="271"/>
                  <a:pt x="459" y="269"/>
                </a:cubicBezTo>
                <a:cubicBezTo>
                  <a:pt x="460" y="264"/>
                  <a:pt x="460" y="261"/>
                  <a:pt x="460" y="258"/>
                </a:cubicBezTo>
                <a:cubicBezTo>
                  <a:pt x="460" y="256"/>
                  <a:pt x="460" y="254"/>
                  <a:pt x="460" y="254"/>
                </a:cubicBezTo>
                <a:cubicBezTo>
                  <a:pt x="460" y="254"/>
                  <a:pt x="460" y="253"/>
                  <a:pt x="460" y="250"/>
                </a:cubicBezTo>
                <a:cubicBezTo>
                  <a:pt x="460" y="248"/>
                  <a:pt x="460" y="244"/>
                  <a:pt x="459" y="239"/>
                </a:cubicBezTo>
                <a:cubicBezTo>
                  <a:pt x="459" y="237"/>
                  <a:pt x="459" y="235"/>
                  <a:pt x="459" y="233"/>
                </a:cubicBezTo>
                <a:cubicBezTo>
                  <a:pt x="462" y="231"/>
                  <a:pt x="466" y="230"/>
                  <a:pt x="469" y="228"/>
                </a:cubicBezTo>
                <a:cubicBezTo>
                  <a:pt x="477" y="224"/>
                  <a:pt x="486" y="220"/>
                  <a:pt x="492" y="217"/>
                </a:cubicBezTo>
                <a:cubicBezTo>
                  <a:pt x="498" y="213"/>
                  <a:pt x="502" y="211"/>
                  <a:pt x="502" y="211"/>
                </a:cubicBezTo>
                <a:cubicBezTo>
                  <a:pt x="502" y="211"/>
                  <a:pt x="502" y="209"/>
                  <a:pt x="501" y="207"/>
                </a:cubicBezTo>
                <a:cubicBezTo>
                  <a:pt x="501" y="205"/>
                  <a:pt x="501" y="204"/>
                  <a:pt x="500" y="202"/>
                </a:cubicBezTo>
                <a:cubicBezTo>
                  <a:pt x="500" y="201"/>
                  <a:pt x="500" y="199"/>
                  <a:pt x="499" y="198"/>
                </a:cubicBezTo>
                <a:cubicBezTo>
                  <a:pt x="499" y="196"/>
                  <a:pt x="498" y="194"/>
                  <a:pt x="498" y="193"/>
                </a:cubicBezTo>
                <a:cubicBezTo>
                  <a:pt x="498" y="192"/>
                  <a:pt x="498" y="191"/>
                  <a:pt x="498" y="190"/>
                </a:cubicBezTo>
                <a:cubicBezTo>
                  <a:pt x="497" y="190"/>
                  <a:pt x="497" y="189"/>
                  <a:pt x="497" y="188"/>
                </a:cubicBezTo>
                <a:cubicBezTo>
                  <a:pt x="496" y="186"/>
                  <a:pt x="496" y="184"/>
                  <a:pt x="496" y="184"/>
                </a:cubicBezTo>
                <a:cubicBezTo>
                  <a:pt x="496" y="184"/>
                  <a:pt x="491" y="184"/>
                  <a:pt x="484" y="184"/>
                </a:cubicBezTo>
                <a:cubicBezTo>
                  <a:pt x="483" y="184"/>
                  <a:pt x="481" y="183"/>
                  <a:pt x="479" y="183"/>
                </a:cubicBezTo>
                <a:cubicBezTo>
                  <a:pt x="477" y="183"/>
                  <a:pt x="475" y="183"/>
                  <a:pt x="473" y="183"/>
                </a:cubicBezTo>
                <a:cubicBezTo>
                  <a:pt x="468" y="183"/>
                  <a:pt x="464" y="183"/>
                  <a:pt x="459" y="183"/>
                </a:cubicBezTo>
                <a:cubicBezTo>
                  <a:pt x="455" y="183"/>
                  <a:pt x="451" y="183"/>
                  <a:pt x="448" y="183"/>
                </a:cubicBezTo>
                <a:cubicBezTo>
                  <a:pt x="447" y="181"/>
                  <a:pt x="446" y="179"/>
                  <a:pt x="445" y="177"/>
                </a:cubicBezTo>
                <a:cubicBezTo>
                  <a:pt x="444" y="173"/>
                  <a:pt x="442" y="170"/>
                  <a:pt x="441" y="167"/>
                </a:cubicBezTo>
                <a:cubicBezTo>
                  <a:pt x="440" y="165"/>
                  <a:pt x="439" y="164"/>
                  <a:pt x="439" y="164"/>
                </a:cubicBezTo>
                <a:cubicBezTo>
                  <a:pt x="439" y="164"/>
                  <a:pt x="439" y="162"/>
                  <a:pt x="437" y="160"/>
                </a:cubicBezTo>
                <a:cubicBezTo>
                  <a:pt x="436" y="158"/>
                  <a:pt x="435" y="154"/>
                  <a:pt x="432" y="151"/>
                </a:cubicBezTo>
                <a:cubicBezTo>
                  <a:pt x="432" y="150"/>
                  <a:pt x="431" y="149"/>
                  <a:pt x="431" y="148"/>
                </a:cubicBezTo>
                <a:cubicBezTo>
                  <a:pt x="430" y="147"/>
                  <a:pt x="430" y="146"/>
                  <a:pt x="429" y="145"/>
                </a:cubicBezTo>
                <a:cubicBezTo>
                  <a:pt x="431" y="142"/>
                  <a:pt x="434" y="139"/>
                  <a:pt x="436" y="136"/>
                </a:cubicBezTo>
                <a:cubicBezTo>
                  <a:pt x="442" y="129"/>
                  <a:pt x="448" y="121"/>
                  <a:pt x="452" y="116"/>
                </a:cubicBezTo>
                <a:cubicBezTo>
                  <a:pt x="456" y="110"/>
                  <a:pt x="458" y="106"/>
                  <a:pt x="458" y="106"/>
                </a:cubicBezTo>
                <a:cubicBezTo>
                  <a:pt x="458" y="106"/>
                  <a:pt x="457" y="105"/>
                  <a:pt x="456" y="103"/>
                </a:cubicBezTo>
                <a:cubicBezTo>
                  <a:pt x="454" y="101"/>
                  <a:pt x="452" y="98"/>
                  <a:pt x="450" y="95"/>
                </a:cubicBezTo>
                <a:cubicBezTo>
                  <a:pt x="449" y="94"/>
                  <a:pt x="448" y="93"/>
                  <a:pt x="447" y="92"/>
                </a:cubicBezTo>
                <a:cubicBezTo>
                  <a:pt x="446" y="90"/>
                  <a:pt x="445" y="89"/>
                  <a:pt x="444" y="88"/>
                </a:cubicBezTo>
                <a:cubicBezTo>
                  <a:pt x="442" y="86"/>
                  <a:pt x="441" y="85"/>
                  <a:pt x="441" y="85"/>
                </a:cubicBezTo>
                <a:cubicBezTo>
                  <a:pt x="441" y="85"/>
                  <a:pt x="440" y="86"/>
                  <a:pt x="438" y="86"/>
                </a:cubicBezTo>
                <a:cubicBezTo>
                  <a:pt x="436" y="87"/>
                  <a:pt x="434" y="88"/>
                  <a:pt x="431" y="89"/>
                </a:cubicBezTo>
                <a:cubicBezTo>
                  <a:pt x="424" y="92"/>
                  <a:pt x="416" y="96"/>
                  <a:pt x="408" y="100"/>
                </a:cubicBezTo>
                <a:cubicBezTo>
                  <a:pt x="404" y="102"/>
                  <a:pt x="401" y="103"/>
                  <a:pt x="397" y="105"/>
                </a:cubicBezTo>
                <a:cubicBezTo>
                  <a:pt x="396" y="104"/>
                  <a:pt x="394" y="102"/>
                  <a:pt x="392" y="100"/>
                </a:cubicBezTo>
                <a:cubicBezTo>
                  <a:pt x="389" y="97"/>
                  <a:pt x="386" y="95"/>
                  <a:pt x="384" y="93"/>
                </a:cubicBezTo>
                <a:cubicBezTo>
                  <a:pt x="383" y="93"/>
                  <a:pt x="383" y="92"/>
                  <a:pt x="382" y="92"/>
                </a:cubicBezTo>
                <a:cubicBezTo>
                  <a:pt x="382" y="91"/>
                  <a:pt x="381" y="91"/>
                  <a:pt x="381" y="91"/>
                </a:cubicBezTo>
                <a:cubicBezTo>
                  <a:pt x="381" y="91"/>
                  <a:pt x="380" y="90"/>
                  <a:pt x="378" y="88"/>
                </a:cubicBezTo>
                <a:cubicBezTo>
                  <a:pt x="376" y="87"/>
                  <a:pt x="373" y="85"/>
                  <a:pt x="370" y="82"/>
                </a:cubicBezTo>
                <a:cubicBezTo>
                  <a:pt x="368" y="81"/>
                  <a:pt x="366" y="80"/>
                  <a:pt x="364" y="78"/>
                </a:cubicBezTo>
                <a:cubicBezTo>
                  <a:pt x="365" y="75"/>
                  <a:pt x="366" y="71"/>
                  <a:pt x="367" y="67"/>
                </a:cubicBezTo>
                <a:cubicBezTo>
                  <a:pt x="368" y="63"/>
                  <a:pt x="369" y="58"/>
                  <a:pt x="370" y="54"/>
                </a:cubicBezTo>
                <a:cubicBezTo>
                  <a:pt x="370" y="50"/>
                  <a:pt x="371" y="46"/>
                  <a:pt x="372" y="43"/>
                </a:cubicBezTo>
                <a:cubicBezTo>
                  <a:pt x="373" y="36"/>
                  <a:pt x="374" y="31"/>
                  <a:pt x="374" y="31"/>
                </a:cubicBezTo>
                <a:cubicBezTo>
                  <a:pt x="374" y="31"/>
                  <a:pt x="373" y="31"/>
                  <a:pt x="373" y="31"/>
                </a:cubicBezTo>
                <a:cubicBezTo>
                  <a:pt x="372" y="30"/>
                  <a:pt x="371" y="30"/>
                  <a:pt x="370" y="29"/>
                </a:cubicBezTo>
                <a:cubicBezTo>
                  <a:pt x="368" y="28"/>
                  <a:pt x="365" y="26"/>
                  <a:pt x="362" y="25"/>
                </a:cubicBezTo>
                <a:cubicBezTo>
                  <a:pt x="358" y="23"/>
                  <a:pt x="355" y="22"/>
                  <a:pt x="353" y="21"/>
                </a:cubicBezTo>
                <a:cubicBezTo>
                  <a:pt x="352" y="20"/>
                  <a:pt x="351" y="20"/>
                  <a:pt x="350" y="20"/>
                </a:cubicBezTo>
                <a:cubicBezTo>
                  <a:pt x="350" y="19"/>
                  <a:pt x="349" y="19"/>
                  <a:pt x="349" y="19"/>
                </a:cubicBezTo>
                <a:cubicBezTo>
                  <a:pt x="349" y="19"/>
                  <a:pt x="346" y="23"/>
                  <a:pt x="341" y="28"/>
                </a:cubicBezTo>
                <a:cubicBezTo>
                  <a:pt x="339" y="30"/>
                  <a:pt x="336" y="34"/>
                  <a:pt x="334" y="37"/>
                </a:cubicBezTo>
                <a:cubicBezTo>
                  <a:pt x="331" y="40"/>
                  <a:pt x="328" y="44"/>
                  <a:pt x="325" y="47"/>
                </a:cubicBezTo>
                <a:cubicBezTo>
                  <a:pt x="323" y="50"/>
                  <a:pt x="321" y="53"/>
                  <a:pt x="318" y="56"/>
                </a:cubicBezTo>
                <a:cubicBezTo>
                  <a:pt x="316" y="56"/>
                  <a:pt x="314" y="55"/>
                  <a:pt x="312" y="54"/>
                </a:cubicBezTo>
                <a:cubicBezTo>
                  <a:pt x="310" y="54"/>
                  <a:pt x="308" y="53"/>
                  <a:pt x="306" y="53"/>
                </a:cubicBezTo>
                <a:cubicBezTo>
                  <a:pt x="305" y="52"/>
                  <a:pt x="304" y="52"/>
                  <a:pt x="304" y="52"/>
                </a:cubicBezTo>
                <a:cubicBezTo>
                  <a:pt x="303" y="52"/>
                  <a:pt x="302" y="52"/>
                  <a:pt x="302" y="52"/>
                </a:cubicBezTo>
                <a:cubicBezTo>
                  <a:pt x="299" y="51"/>
                  <a:pt x="298" y="51"/>
                  <a:pt x="298" y="51"/>
                </a:cubicBezTo>
                <a:cubicBezTo>
                  <a:pt x="298" y="51"/>
                  <a:pt x="296" y="50"/>
                  <a:pt x="294" y="50"/>
                </a:cubicBezTo>
                <a:cubicBezTo>
                  <a:pt x="291" y="49"/>
                  <a:pt x="288" y="49"/>
                  <a:pt x="283" y="48"/>
                </a:cubicBezTo>
                <a:cubicBezTo>
                  <a:pt x="281" y="48"/>
                  <a:pt x="279" y="47"/>
                  <a:pt x="276" y="47"/>
                </a:cubicBezTo>
                <a:cubicBezTo>
                  <a:pt x="276" y="43"/>
                  <a:pt x="275" y="39"/>
                  <a:pt x="274" y="36"/>
                </a:cubicBezTo>
                <a:cubicBezTo>
                  <a:pt x="272" y="27"/>
                  <a:pt x="270" y="18"/>
                  <a:pt x="268" y="11"/>
                </a:cubicBezTo>
                <a:cubicBezTo>
                  <a:pt x="266" y="4"/>
                  <a:pt x="265" y="0"/>
                  <a:pt x="265" y="0"/>
                </a:cubicBezTo>
                <a:cubicBezTo>
                  <a:pt x="265" y="0"/>
                  <a:pt x="264" y="0"/>
                  <a:pt x="263" y="0"/>
                </a:cubicBezTo>
                <a:cubicBezTo>
                  <a:pt x="263" y="0"/>
                  <a:pt x="262" y="0"/>
                  <a:pt x="260" y="0"/>
                </a:cubicBezTo>
                <a:cubicBezTo>
                  <a:pt x="258" y="0"/>
                  <a:pt x="255" y="0"/>
                  <a:pt x="251" y="0"/>
                </a:cubicBezTo>
                <a:cubicBezTo>
                  <a:pt x="248" y="0"/>
                  <a:pt x="244" y="0"/>
                  <a:pt x="242" y="0"/>
                </a:cubicBezTo>
                <a:cubicBezTo>
                  <a:pt x="241" y="0"/>
                  <a:pt x="240" y="0"/>
                  <a:pt x="239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38" y="0"/>
                  <a:pt x="236" y="4"/>
                  <a:pt x="234" y="11"/>
                </a:cubicBezTo>
                <a:cubicBezTo>
                  <a:pt x="232" y="18"/>
                  <a:pt x="230" y="27"/>
                  <a:pt x="228" y="36"/>
                </a:cubicBezTo>
                <a:cubicBezTo>
                  <a:pt x="227" y="39"/>
                  <a:pt x="227" y="43"/>
                  <a:pt x="226" y="47"/>
                </a:cubicBezTo>
                <a:cubicBezTo>
                  <a:pt x="224" y="47"/>
                  <a:pt x="221" y="48"/>
                  <a:pt x="219" y="48"/>
                </a:cubicBezTo>
                <a:cubicBezTo>
                  <a:pt x="215" y="49"/>
                  <a:pt x="211" y="49"/>
                  <a:pt x="209" y="50"/>
                </a:cubicBezTo>
                <a:cubicBezTo>
                  <a:pt x="206" y="50"/>
                  <a:pt x="205" y="51"/>
                  <a:pt x="205" y="51"/>
                </a:cubicBezTo>
                <a:cubicBezTo>
                  <a:pt x="205" y="51"/>
                  <a:pt x="203" y="51"/>
                  <a:pt x="201" y="52"/>
                </a:cubicBezTo>
                <a:cubicBezTo>
                  <a:pt x="200" y="52"/>
                  <a:pt x="199" y="52"/>
                  <a:pt x="199" y="52"/>
                </a:cubicBezTo>
                <a:cubicBezTo>
                  <a:pt x="198" y="52"/>
                  <a:pt x="197" y="52"/>
                  <a:pt x="196" y="53"/>
                </a:cubicBezTo>
                <a:cubicBezTo>
                  <a:pt x="195" y="53"/>
                  <a:pt x="193" y="54"/>
                  <a:pt x="191" y="54"/>
                </a:cubicBezTo>
                <a:cubicBezTo>
                  <a:pt x="188" y="55"/>
                  <a:pt x="186" y="56"/>
                  <a:pt x="184" y="56"/>
                </a:cubicBezTo>
                <a:cubicBezTo>
                  <a:pt x="182" y="53"/>
                  <a:pt x="179" y="50"/>
                  <a:pt x="177" y="47"/>
                </a:cubicBezTo>
                <a:cubicBezTo>
                  <a:pt x="174" y="44"/>
                  <a:pt x="171" y="40"/>
                  <a:pt x="169" y="37"/>
                </a:cubicBezTo>
                <a:cubicBezTo>
                  <a:pt x="166" y="34"/>
                  <a:pt x="163" y="30"/>
                  <a:pt x="161" y="28"/>
                </a:cubicBezTo>
                <a:cubicBezTo>
                  <a:pt x="156" y="23"/>
                  <a:pt x="153" y="19"/>
                  <a:pt x="153" y="19"/>
                </a:cubicBezTo>
                <a:cubicBezTo>
                  <a:pt x="153" y="19"/>
                  <a:pt x="153" y="19"/>
                  <a:pt x="152" y="20"/>
                </a:cubicBezTo>
                <a:cubicBezTo>
                  <a:pt x="151" y="20"/>
                  <a:pt x="150" y="20"/>
                  <a:pt x="149" y="21"/>
                </a:cubicBezTo>
                <a:cubicBezTo>
                  <a:pt x="147" y="22"/>
                  <a:pt x="144" y="23"/>
                  <a:pt x="141" y="25"/>
                </a:cubicBezTo>
                <a:cubicBezTo>
                  <a:pt x="138" y="26"/>
                  <a:pt x="135" y="28"/>
                  <a:pt x="132" y="29"/>
                </a:cubicBezTo>
                <a:cubicBezTo>
                  <a:pt x="131" y="30"/>
                  <a:pt x="130" y="30"/>
                  <a:pt x="130" y="31"/>
                </a:cubicBezTo>
                <a:cubicBezTo>
                  <a:pt x="129" y="31"/>
                  <a:pt x="129" y="31"/>
                  <a:pt x="129" y="31"/>
                </a:cubicBezTo>
                <a:cubicBezTo>
                  <a:pt x="129" y="31"/>
                  <a:pt x="129" y="36"/>
                  <a:pt x="130" y="43"/>
                </a:cubicBezTo>
                <a:cubicBezTo>
                  <a:pt x="131" y="46"/>
                  <a:pt x="132" y="50"/>
                  <a:pt x="133" y="54"/>
                </a:cubicBezTo>
                <a:cubicBezTo>
                  <a:pt x="134" y="58"/>
                  <a:pt x="135" y="63"/>
                  <a:pt x="136" y="67"/>
                </a:cubicBezTo>
                <a:cubicBezTo>
                  <a:pt x="137" y="71"/>
                  <a:pt x="138" y="75"/>
                  <a:pt x="139" y="78"/>
                </a:cubicBezTo>
                <a:cubicBezTo>
                  <a:pt x="136" y="80"/>
                  <a:pt x="135" y="81"/>
                  <a:pt x="133" y="82"/>
                </a:cubicBezTo>
                <a:cubicBezTo>
                  <a:pt x="129" y="85"/>
                  <a:pt x="126" y="87"/>
                  <a:pt x="124" y="88"/>
                </a:cubicBezTo>
                <a:cubicBezTo>
                  <a:pt x="122" y="90"/>
                  <a:pt x="121" y="91"/>
                  <a:pt x="121" y="91"/>
                </a:cubicBezTo>
                <a:cubicBezTo>
                  <a:pt x="121" y="91"/>
                  <a:pt x="121" y="91"/>
                  <a:pt x="120" y="92"/>
                </a:cubicBezTo>
                <a:cubicBezTo>
                  <a:pt x="120" y="92"/>
                  <a:pt x="119" y="93"/>
                  <a:pt x="118" y="93"/>
                </a:cubicBezTo>
                <a:cubicBezTo>
                  <a:pt x="116" y="95"/>
                  <a:pt x="113" y="97"/>
                  <a:pt x="110" y="100"/>
                </a:cubicBezTo>
                <a:cubicBezTo>
                  <a:pt x="108" y="102"/>
                  <a:pt x="107" y="104"/>
                  <a:pt x="105" y="105"/>
                </a:cubicBezTo>
                <a:cubicBezTo>
                  <a:pt x="102" y="103"/>
                  <a:pt x="98" y="102"/>
                  <a:pt x="95" y="100"/>
                </a:cubicBezTo>
                <a:cubicBezTo>
                  <a:pt x="86" y="96"/>
                  <a:pt x="78" y="92"/>
                  <a:pt x="72" y="89"/>
                </a:cubicBezTo>
                <a:cubicBezTo>
                  <a:pt x="68" y="88"/>
                  <a:pt x="66" y="87"/>
                  <a:pt x="64" y="86"/>
                </a:cubicBezTo>
                <a:cubicBezTo>
                  <a:pt x="62" y="86"/>
                  <a:pt x="61" y="85"/>
                  <a:pt x="61" y="85"/>
                </a:cubicBezTo>
                <a:cubicBezTo>
                  <a:pt x="61" y="85"/>
                  <a:pt x="60" y="86"/>
                  <a:pt x="58" y="88"/>
                </a:cubicBezTo>
                <a:cubicBezTo>
                  <a:pt x="57" y="89"/>
                  <a:pt x="56" y="90"/>
                  <a:pt x="55" y="92"/>
                </a:cubicBezTo>
                <a:cubicBezTo>
                  <a:pt x="54" y="93"/>
                  <a:pt x="53" y="94"/>
                  <a:pt x="52" y="95"/>
                </a:cubicBezTo>
                <a:cubicBezTo>
                  <a:pt x="50" y="98"/>
                  <a:pt x="48" y="101"/>
                  <a:pt x="47" y="103"/>
                </a:cubicBezTo>
                <a:cubicBezTo>
                  <a:pt x="45" y="105"/>
                  <a:pt x="44" y="106"/>
                  <a:pt x="44" y="106"/>
                </a:cubicBezTo>
                <a:cubicBezTo>
                  <a:pt x="44" y="106"/>
                  <a:pt x="47" y="110"/>
                  <a:pt x="51" y="116"/>
                </a:cubicBezTo>
                <a:cubicBezTo>
                  <a:pt x="55" y="121"/>
                  <a:pt x="60" y="129"/>
                  <a:pt x="66" y="136"/>
                </a:cubicBezTo>
                <a:cubicBezTo>
                  <a:pt x="68" y="139"/>
                  <a:pt x="71" y="142"/>
                  <a:pt x="73" y="145"/>
                </a:cubicBezTo>
                <a:cubicBezTo>
                  <a:pt x="73" y="146"/>
                  <a:pt x="72" y="147"/>
                  <a:pt x="72" y="148"/>
                </a:cubicBezTo>
                <a:cubicBezTo>
                  <a:pt x="71" y="149"/>
                  <a:pt x="70" y="150"/>
                  <a:pt x="70" y="151"/>
                </a:cubicBezTo>
                <a:cubicBezTo>
                  <a:pt x="68" y="154"/>
                  <a:pt x="66" y="158"/>
                  <a:pt x="65" y="160"/>
                </a:cubicBezTo>
                <a:cubicBezTo>
                  <a:pt x="64" y="162"/>
                  <a:pt x="63" y="164"/>
                  <a:pt x="63" y="164"/>
                </a:cubicBezTo>
                <a:cubicBezTo>
                  <a:pt x="63" y="164"/>
                  <a:pt x="62" y="165"/>
                  <a:pt x="61" y="167"/>
                </a:cubicBezTo>
                <a:cubicBezTo>
                  <a:pt x="60" y="170"/>
                  <a:pt x="59" y="173"/>
                  <a:pt x="57" y="177"/>
                </a:cubicBezTo>
                <a:cubicBezTo>
                  <a:pt x="56" y="179"/>
                  <a:pt x="55" y="181"/>
                  <a:pt x="55" y="183"/>
                </a:cubicBezTo>
                <a:cubicBezTo>
                  <a:pt x="51" y="183"/>
                  <a:pt x="47" y="183"/>
                  <a:pt x="43" y="183"/>
                </a:cubicBezTo>
                <a:cubicBezTo>
                  <a:pt x="39" y="183"/>
                  <a:pt x="34" y="183"/>
                  <a:pt x="30" y="183"/>
                </a:cubicBezTo>
                <a:cubicBezTo>
                  <a:pt x="28" y="183"/>
                  <a:pt x="25" y="183"/>
                  <a:pt x="23" y="183"/>
                </a:cubicBezTo>
                <a:cubicBezTo>
                  <a:pt x="22" y="183"/>
                  <a:pt x="20" y="184"/>
                  <a:pt x="18" y="184"/>
                </a:cubicBezTo>
                <a:cubicBezTo>
                  <a:pt x="11" y="184"/>
                  <a:pt x="6" y="184"/>
                  <a:pt x="6" y="184"/>
                </a:cubicBezTo>
                <a:cubicBezTo>
                  <a:pt x="6" y="184"/>
                  <a:pt x="6" y="186"/>
                  <a:pt x="5" y="188"/>
                </a:cubicBezTo>
                <a:cubicBezTo>
                  <a:pt x="5" y="189"/>
                  <a:pt x="5" y="190"/>
                  <a:pt x="5" y="190"/>
                </a:cubicBezTo>
                <a:cubicBezTo>
                  <a:pt x="5" y="191"/>
                  <a:pt x="4" y="192"/>
                  <a:pt x="4" y="193"/>
                </a:cubicBezTo>
                <a:cubicBezTo>
                  <a:pt x="4" y="194"/>
                  <a:pt x="3" y="196"/>
                  <a:pt x="3" y="198"/>
                </a:cubicBezTo>
                <a:cubicBezTo>
                  <a:pt x="3" y="199"/>
                  <a:pt x="2" y="201"/>
                  <a:pt x="2" y="202"/>
                </a:cubicBezTo>
                <a:cubicBezTo>
                  <a:pt x="2" y="204"/>
                  <a:pt x="1" y="205"/>
                  <a:pt x="1" y="207"/>
                </a:cubicBezTo>
                <a:cubicBezTo>
                  <a:pt x="1" y="209"/>
                  <a:pt x="0" y="211"/>
                  <a:pt x="0" y="211"/>
                </a:cubicBezTo>
                <a:cubicBezTo>
                  <a:pt x="0" y="211"/>
                  <a:pt x="4" y="213"/>
                  <a:pt x="10" y="217"/>
                </a:cubicBezTo>
                <a:cubicBezTo>
                  <a:pt x="17" y="220"/>
                  <a:pt x="25" y="224"/>
                  <a:pt x="33" y="228"/>
                </a:cubicBezTo>
                <a:cubicBezTo>
                  <a:pt x="37" y="230"/>
                  <a:pt x="40" y="231"/>
                  <a:pt x="43" y="233"/>
                </a:cubicBezTo>
                <a:cubicBezTo>
                  <a:pt x="43" y="235"/>
                  <a:pt x="43" y="237"/>
                  <a:pt x="43" y="239"/>
                </a:cubicBezTo>
                <a:cubicBezTo>
                  <a:pt x="43" y="244"/>
                  <a:pt x="43" y="248"/>
                  <a:pt x="42" y="250"/>
                </a:cubicBezTo>
                <a:cubicBezTo>
                  <a:pt x="42" y="253"/>
                  <a:pt x="42" y="254"/>
                  <a:pt x="42" y="254"/>
                </a:cubicBezTo>
                <a:cubicBezTo>
                  <a:pt x="42" y="254"/>
                  <a:pt x="42" y="256"/>
                  <a:pt x="42" y="258"/>
                </a:cubicBezTo>
                <a:cubicBezTo>
                  <a:pt x="43" y="261"/>
                  <a:pt x="43" y="264"/>
                  <a:pt x="43" y="269"/>
                </a:cubicBezTo>
                <a:cubicBezTo>
                  <a:pt x="43" y="271"/>
                  <a:pt x="43" y="273"/>
                  <a:pt x="43" y="276"/>
                </a:cubicBezTo>
                <a:cubicBezTo>
                  <a:pt x="40" y="277"/>
                  <a:pt x="37" y="279"/>
                  <a:pt x="33" y="280"/>
                </a:cubicBezTo>
                <a:cubicBezTo>
                  <a:pt x="25" y="284"/>
                  <a:pt x="17" y="288"/>
                  <a:pt x="10" y="292"/>
                </a:cubicBezTo>
                <a:cubicBezTo>
                  <a:pt x="4" y="295"/>
                  <a:pt x="0" y="297"/>
                  <a:pt x="0" y="297"/>
                </a:cubicBezTo>
                <a:cubicBezTo>
                  <a:pt x="0" y="297"/>
                  <a:pt x="1" y="299"/>
                  <a:pt x="1" y="302"/>
                </a:cubicBezTo>
                <a:cubicBezTo>
                  <a:pt x="1" y="303"/>
                  <a:pt x="2" y="304"/>
                  <a:pt x="2" y="306"/>
                </a:cubicBezTo>
                <a:cubicBezTo>
                  <a:pt x="2" y="307"/>
                  <a:pt x="3" y="309"/>
                  <a:pt x="3" y="311"/>
                </a:cubicBezTo>
                <a:cubicBezTo>
                  <a:pt x="3" y="312"/>
                  <a:pt x="4" y="314"/>
                  <a:pt x="4" y="316"/>
                </a:cubicBezTo>
                <a:cubicBezTo>
                  <a:pt x="4" y="316"/>
                  <a:pt x="5" y="317"/>
                  <a:pt x="5" y="318"/>
                </a:cubicBezTo>
                <a:cubicBezTo>
                  <a:pt x="5" y="318"/>
                  <a:pt x="5" y="319"/>
                  <a:pt x="5" y="320"/>
                </a:cubicBezTo>
                <a:cubicBezTo>
                  <a:pt x="6" y="322"/>
                  <a:pt x="6" y="324"/>
                  <a:pt x="6" y="324"/>
                </a:cubicBezTo>
                <a:cubicBezTo>
                  <a:pt x="6" y="324"/>
                  <a:pt x="11" y="324"/>
                  <a:pt x="18" y="325"/>
                </a:cubicBezTo>
                <a:cubicBezTo>
                  <a:pt x="20" y="325"/>
                  <a:pt x="22" y="325"/>
                  <a:pt x="23" y="325"/>
                </a:cubicBezTo>
                <a:cubicBezTo>
                  <a:pt x="25" y="325"/>
                  <a:pt x="28" y="325"/>
                  <a:pt x="30" y="325"/>
                </a:cubicBezTo>
                <a:cubicBezTo>
                  <a:pt x="34" y="325"/>
                  <a:pt x="39" y="325"/>
                  <a:pt x="43" y="325"/>
                </a:cubicBezTo>
                <a:cubicBezTo>
                  <a:pt x="47" y="325"/>
                  <a:pt x="51" y="325"/>
                  <a:pt x="55" y="325"/>
                </a:cubicBezTo>
                <a:cubicBezTo>
                  <a:pt x="55" y="327"/>
                  <a:pt x="56" y="329"/>
                  <a:pt x="57" y="331"/>
                </a:cubicBezTo>
                <a:cubicBezTo>
                  <a:pt x="59" y="335"/>
                  <a:pt x="60" y="339"/>
                  <a:pt x="61" y="341"/>
                </a:cubicBezTo>
                <a:cubicBezTo>
                  <a:pt x="62" y="343"/>
                  <a:pt x="63" y="345"/>
                  <a:pt x="63" y="345"/>
                </a:cubicBezTo>
                <a:cubicBezTo>
                  <a:pt x="63" y="345"/>
                  <a:pt x="64" y="346"/>
                  <a:pt x="65" y="348"/>
                </a:cubicBezTo>
                <a:cubicBezTo>
                  <a:pt x="66" y="351"/>
                  <a:pt x="68" y="354"/>
                  <a:pt x="70" y="358"/>
                </a:cubicBezTo>
                <a:cubicBezTo>
                  <a:pt x="70" y="359"/>
                  <a:pt x="71" y="360"/>
                  <a:pt x="72" y="361"/>
                </a:cubicBezTo>
                <a:cubicBezTo>
                  <a:pt x="72" y="362"/>
                  <a:pt x="73" y="363"/>
                  <a:pt x="73" y="364"/>
                </a:cubicBezTo>
                <a:cubicBezTo>
                  <a:pt x="71" y="366"/>
                  <a:pt x="68" y="369"/>
                  <a:pt x="66" y="372"/>
                </a:cubicBezTo>
                <a:cubicBezTo>
                  <a:pt x="60" y="379"/>
                  <a:pt x="55" y="387"/>
                  <a:pt x="51" y="392"/>
                </a:cubicBezTo>
                <a:cubicBezTo>
                  <a:pt x="47" y="398"/>
                  <a:pt x="44" y="402"/>
                  <a:pt x="44" y="402"/>
                </a:cubicBezTo>
                <a:cubicBezTo>
                  <a:pt x="44" y="402"/>
                  <a:pt x="45" y="403"/>
                  <a:pt x="47" y="405"/>
                </a:cubicBezTo>
                <a:cubicBezTo>
                  <a:pt x="48" y="407"/>
                  <a:pt x="50" y="410"/>
                  <a:pt x="52" y="413"/>
                </a:cubicBezTo>
                <a:cubicBezTo>
                  <a:pt x="53" y="414"/>
                  <a:pt x="54" y="415"/>
                  <a:pt x="55" y="417"/>
                </a:cubicBezTo>
                <a:cubicBezTo>
                  <a:pt x="56" y="418"/>
                  <a:pt x="57" y="419"/>
                  <a:pt x="58" y="420"/>
                </a:cubicBezTo>
                <a:cubicBezTo>
                  <a:pt x="60" y="422"/>
                  <a:pt x="61" y="423"/>
                  <a:pt x="61" y="423"/>
                </a:cubicBezTo>
                <a:cubicBezTo>
                  <a:pt x="61" y="423"/>
                  <a:pt x="62" y="423"/>
                  <a:pt x="64" y="422"/>
                </a:cubicBezTo>
                <a:cubicBezTo>
                  <a:pt x="66" y="421"/>
                  <a:pt x="68" y="420"/>
                  <a:pt x="72" y="419"/>
                </a:cubicBezTo>
                <a:cubicBezTo>
                  <a:pt x="78" y="416"/>
                  <a:pt x="86" y="412"/>
                  <a:pt x="95" y="408"/>
                </a:cubicBezTo>
                <a:cubicBezTo>
                  <a:pt x="98" y="407"/>
                  <a:pt x="102" y="405"/>
                  <a:pt x="105" y="403"/>
                </a:cubicBezTo>
                <a:cubicBezTo>
                  <a:pt x="107" y="405"/>
                  <a:pt x="108" y="406"/>
                  <a:pt x="110" y="408"/>
                </a:cubicBezTo>
                <a:cubicBezTo>
                  <a:pt x="113" y="411"/>
                  <a:pt x="116" y="413"/>
                  <a:pt x="118" y="415"/>
                </a:cubicBezTo>
                <a:cubicBezTo>
                  <a:pt x="119" y="416"/>
                  <a:pt x="120" y="416"/>
                  <a:pt x="120" y="417"/>
                </a:cubicBezTo>
                <a:cubicBezTo>
                  <a:pt x="121" y="417"/>
                  <a:pt x="121" y="417"/>
                  <a:pt x="121" y="417"/>
                </a:cubicBezTo>
                <a:cubicBezTo>
                  <a:pt x="121" y="417"/>
                  <a:pt x="122" y="418"/>
                  <a:pt x="124" y="420"/>
                </a:cubicBezTo>
                <a:cubicBezTo>
                  <a:pt x="126" y="421"/>
                  <a:pt x="129" y="423"/>
                  <a:pt x="133" y="426"/>
                </a:cubicBezTo>
                <a:cubicBezTo>
                  <a:pt x="135" y="427"/>
                  <a:pt x="136" y="429"/>
                  <a:pt x="139" y="430"/>
                </a:cubicBezTo>
                <a:cubicBezTo>
                  <a:pt x="138" y="433"/>
                  <a:pt x="137" y="437"/>
                  <a:pt x="136" y="441"/>
                </a:cubicBezTo>
                <a:cubicBezTo>
                  <a:pt x="135" y="446"/>
                  <a:pt x="134" y="450"/>
                  <a:pt x="133" y="454"/>
                </a:cubicBezTo>
                <a:cubicBezTo>
                  <a:pt x="132" y="458"/>
                  <a:pt x="131" y="462"/>
                  <a:pt x="130" y="466"/>
                </a:cubicBezTo>
                <a:cubicBezTo>
                  <a:pt x="129" y="473"/>
                  <a:pt x="129" y="477"/>
                  <a:pt x="129" y="477"/>
                </a:cubicBezTo>
                <a:cubicBezTo>
                  <a:pt x="129" y="477"/>
                  <a:pt x="129" y="477"/>
                  <a:pt x="130" y="478"/>
                </a:cubicBezTo>
                <a:cubicBezTo>
                  <a:pt x="130" y="478"/>
                  <a:pt x="131" y="479"/>
                  <a:pt x="132" y="479"/>
                </a:cubicBezTo>
                <a:cubicBezTo>
                  <a:pt x="135" y="480"/>
                  <a:pt x="138" y="482"/>
                  <a:pt x="141" y="483"/>
                </a:cubicBezTo>
                <a:cubicBezTo>
                  <a:pt x="144" y="485"/>
                  <a:pt x="147" y="486"/>
                  <a:pt x="149" y="487"/>
                </a:cubicBezTo>
                <a:cubicBezTo>
                  <a:pt x="150" y="488"/>
                  <a:pt x="151" y="488"/>
                  <a:pt x="152" y="489"/>
                </a:cubicBezTo>
                <a:cubicBezTo>
                  <a:pt x="153" y="489"/>
                  <a:pt x="153" y="489"/>
                  <a:pt x="153" y="489"/>
                </a:cubicBezTo>
                <a:cubicBezTo>
                  <a:pt x="153" y="489"/>
                  <a:pt x="156" y="486"/>
                  <a:pt x="161" y="480"/>
                </a:cubicBezTo>
                <a:cubicBezTo>
                  <a:pt x="163" y="478"/>
                  <a:pt x="166" y="475"/>
                  <a:pt x="169" y="471"/>
                </a:cubicBezTo>
                <a:cubicBezTo>
                  <a:pt x="171" y="468"/>
                  <a:pt x="174" y="465"/>
                  <a:pt x="177" y="461"/>
                </a:cubicBezTo>
                <a:cubicBezTo>
                  <a:pt x="179" y="458"/>
                  <a:pt x="182" y="455"/>
                  <a:pt x="184" y="452"/>
                </a:cubicBezTo>
                <a:cubicBezTo>
                  <a:pt x="186" y="453"/>
                  <a:pt x="188" y="453"/>
                  <a:pt x="191" y="454"/>
                </a:cubicBezTo>
                <a:cubicBezTo>
                  <a:pt x="193" y="455"/>
                  <a:pt x="195" y="455"/>
                  <a:pt x="196" y="456"/>
                </a:cubicBezTo>
                <a:cubicBezTo>
                  <a:pt x="197" y="456"/>
                  <a:pt x="198" y="456"/>
                  <a:pt x="199" y="456"/>
                </a:cubicBezTo>
                <a:cubicBezTo>
                  <a:pt x="199" y="456"/>
                  <a:pt x="200" y="457"/>
                  <a:pt x="201" y="457"/>
                </a:cubicBezTo>
                <a:cubicBezTo>
                  <a:pt x="203" y="457"/>
                  <a:pt x="205" y="458"/>
                  <a:pt x="205" y="458"/>
                </a:cubicBezTo>
                <a:cubicBezTo>
                  <a:pt x="205" y="458"/>
                  <a:pt x="206" y="458"/>
                  <a:pt x="209" y="459"/>
                </a:cubicBezTo>
                <a:cubicBezTo>
                  <a:pt x="211" y="459"/>
                  <a:pt x="215" y="460"/>
                  <a:pt x="219" y="460"/>
                </a:cubicBezTo>
                <a:cubicBezTo>
                  <a:pt x="221" y="461"/>
                  <a:pt x="224" y="461"/>
                  <a:pt x="226" y="461"/>
                </a:cubicBezTo>
                <a:cubicBezTo>
                  <a:pt x="227" y="465"/>
                  <a:pt x="227" y="469"/>
                  <a:pt x="228" y="473"/>
                </a:cubicBezTo>
                <a:cubicBezTo>
                  <a:pt x="230" y="482"/>
                  <a:pt x="232" y="490"/>
                  <a:pt x="234" y="497"/>
                </a:cubicBezTo>
                <a:cubicBezTo>
                  <a:pt x="236" y="504"/>
                  <a:pt x="238" y="508"/>
                  <a:pt x="238" y="508"/>
                </a:cubicBezTo>
                <a:cubicBezTo>
                  <a:pt x="238" y="508"/>
                  <a:pt x="238" y="508"/>
                  <a:pt x="239" y="508"/>
                </a:cubicBezTo>
                <a:cubicBezTo>
                  <a:pt x="240" y="508"/>
                  <a:pt x="241" y="508"/>
                  <a:pt x="242" y="508"/>
                </a:cubicBezTo>
                <a:cubicBezTo>
                  <a:pt x="244" y="508"/>
                  <a:pt x="248" y="508"/>
                  <a:pt x="251" y="509"/>
                </a:cubicBezTo>
                <a:cubicBezTo>
                  <a:pt x="255" y="508"/>
                  <a:pt x="258" y="508"/>
                  <a:pt x="260" y="508"/>
                </a:cubicBezTo>
                <a:cubicBezTo>
                  <a:pt x="262" y="508"/>
                  <a:pt x="263" y="508"/>
                  <a:pt x="263" y="508"/>
                </a:cubicBezTo>
                <a:cubicBezTo>
                  <a:pt x="264" y="508"/>
                  <a:pt x="265" y="508"/>
                  <a:pt x="265" y="508"/>
                </a:cubicBezTo>
                <a:cubicBezTo>
                  <a:pt x="265" y="508"/>
                  <a:pt x="266" y="504"/>
                  <a:pt x="268" y="497"/>
                </a:cubicBezTo>
                <a:cubicBezTo>
                  <a:pt x="270" y="490"/>
                  <a:pt x="272" y="482"/>
                  <a:pt x="274" y="473"/>
                </a:cubicBezTo>
                <a:cubicBezTo>
                  <a:pt x="275" y="469"/>
                  <a:pt x="276" y="465"/>
                  <a:pt x="276" y="461"/>
                </a:cubicBezTo>
                <a:cubicBezTo>
                  <a:pt x="279" y="461"/>
                  <a:pt x="281" y="461"/>
                  <a:pt x="283" y="460"/>
                </a:cubicBezTo>
                <a:cubicBezTo>
                  <a:pt x="288" y="460"/>
                  <a:pt x="291" y="459"/>
                  <a:pt x="294" y="459"/>
                </a:cubicBezTo>
                <a:cubicBezTo>
                  <a:pt x="296" y="458"/>
                  <a:pt x="298" y="458"/>
                  <a:pt x="298" y="458"/>
                </a:cubicBezTo>
                <a:cubicBezTo>
                  <a:pt x="298" y="458"/>
                  <a:pt x="299" y="457"/>
                  <a:pt x="302" y="457"/>
                </a:cubicBezTo>
                <a:cubicBezTo>
                  <a:pt x="302" y="457"/>
                  <a:pt x="303" y="456"/>
                  <a:pt x="304" y="456"/>
                </a:cubicBezTo>
                <a:cubicBezTo>
                  <a:pt x="304" y="456"/>
                  <a:pt x="305" y="456"/>
                  <a:pt x="306" y="456"/>
                </a:cubicBezTo>
                <a:cubicBezTo>
                  <a:pt x="308" y="455"/>
                  <a:pt x="310" y="455"/>
                  <a:pt x="312" y="454"/>
                </a:cubicBezTo>
                <a:cubicBezTo>
                  <a:pt x="314" y="453"/>
                  <a:pt x="316" y="453"/>
                  <a:pt x="318" y="452"/>
                </a:cubicBezTo>
                <a:cubicBezTo>
                  <a:pt x="321" y="455"/>
                  <a:pt x="323" y="458"/>
                  <a:pt x="325" y="461"/>
                </a:cubicBezTo>
                <a:cubicBezTo>
                  <a:pt x="328" y="465"/>
                  <a:pt x="331" y="468"/>
                  <a:pt x="334" y="471"/>
                </a:cubicBezTo>
                <a:cubicBezTo>
                  <a:pt x="336" y="475"/>
                  <a:pt x="339" y="478"/>
                  <a:pt x="341" y="480"/>
                </a:cubicBezTo>
                <a:cubicBezTo>
                  <a:pt x="346" y="486"/>
                  <a:pt x="349" y="489"/>
                  <a:pt x="349" y="489"/>
                </a:cubicBezTo>
                <a:cubicBezTo>
                  <a:pt x="349" y="489"/>
                  <a:pt x="350" y="489"/>
                  <a:pt x="350" y="489"/>
                </a:cubicBezTo>
                <a:cubicBezTo>
                  <a:pt x="351" y="488"/>
                  <a:pt x="352" y="488"/>
                  <a:pt x="353" y="487"/>
                </a:cubicBezTo>
                <a:cubicBezTo>
                  <a:pt x="355" y="486"/>
                  <a:pt x="358" y="485"/>
                  <a:pt x="362" y="483"/>
                </a:cubicBezTo>
                <a:cubicBezTo>
                  <a:pt x="365" y="482"/>
                  <a:pt x="368" y="480"/>
                  <a:pt x="370" y="479"/>
                </a:cubicBezTo>
                <a:cubicBezTo>
                  <a:pt x="371" y="479"/>
                  <a:pt x="372" y="478"/>
                  <a:pt x="373" y="478"/>
                </a:cubicBezTo>
                <a:cubicBezTo>
                  <a:pt x="373" y="477"/>
                  <a:pt x="374" y="477"/>
                  <a:pt x="374" y="477"/>
                </a:cubicBezTo>
                <a:cubicBezTo>
                  <a:pt x="374" y="477"/>
                  <a:pt x="373" y="473"/>
                  <a:pt x="372" y="466"/>
                </a:cubicBezTo>
                <a:cubicBezTo>
                  <a:pt x="371" y="462"/>
                  <a:pt x="370" y="458"/>
                  <a:pt x="370" y="454"/>
                </a:cubicBezTo>
                <a:cubicBezTo>
                  <a:pt x="369" y="450"/>
                  <a:pt x="368" y="446"/>
                  <a:pt x="367" y="441"/>
                </a:cubicBezTo>
                <a:cubicBezTo>
                  <a:pt x="366" y="437"/>
                  <a:pt x="365" y="433"/>
                  <a:pt x="364" y="430"/>
                </a:cubicBezTo>
                <a:cubicBezTo>
                  <a:pt x="366" y="429"/>
                  <a:pt x="368" y="427"/>
                  <a:pt x="370" y="426"/>
                </a:cubicBezTo>
                <a:cubicBezTo>
                  <a:pt x="373" y="423"/>
                  <a:pt x="376" y="421"/>
                  <a:pt x="378" y="420"/>
                </a:cubicBezTo>
                <a:cubicBezTo>
                  <a:pt x="380" y="418"/>
                  <a:pt x="381" y="417"/>
                  <a:pt x="381" y="417"/>
                </a:cubicBezTo>
                <a:cubicBezTo>
                  <a:pt x="381" y="417"/>
                  <a:pt x="382" y="417"/>
                  <a:pt x="382" y="417"/>
                </a:cubicBezTo>
                <a:cubicBezTo>
                  <a:pt x="383" y="416"/>
                  <a:pt x="383" y="416"/>
                  <a:pt x="384" y="415"/>
                </a:cubicBezTo>
                <a:cubicBezTo>
                  <a:pt x="386" y="413"/>
                  <a:pt x="389" y="411"/>
                  <a:pt x="392" y="408"/>
                </a:cubicBezTo>
                <a:cubicBezTo>
                  <a:pt x="394" y="406"/>
                  <a:pt x="396" y="405"/>
                  <a:pt x="397" y="403"/>
                </a:cubicBezTo>
                <a:cubicBezTo>
                  <a:pt x="401" y="405"/>
                  <a:pt x="404" y="407"/>
                  <a:pt x="408" y="408"/>
                </a:cubicBezTo>
                <a:cubicBezTo>
                  <a:pt x="416" y="412"/>
                  <a:pt x="424" y="416"/>
                  <a:pt x="431" y="419"/>
                </a:cubicBezTo>
                <a:cubicBezTo>
                  <a:pt x="434" y="420"/>
                  <a:pt x="436" y="421"/>
                  <a:pt x="438" y="422"/>
                </a:cubicBezTo>
                <a:cubicBezTo>
                  <a:pt x="440" y="423"/>
                  <a:pt x="441" y="423"/>
                  <a:pt x="441" y="423"/>
                </a:cubicBezTo>
                <a:cubicBezTo>
                  <a:pt x="441" y="423"/>
                  <a:pt x="442" y="422"/>
                  <a:pt x="444" y="420"/>
                </a:cubicBezTo>
                <a:cubicBezTo>
                  <a:pt x="445" y="419"/>
                  <a:pt x="446" y="418"/>
                  <a:pt x="447" y="417"/>
                </a:cubicBezTo>
                <a:cubicBezTo>
                  <a:pt x="448" y="415"/>
                  <a:pt x="449" y="414"/>
                  <a:pt x="450" y="413"/>
                </a:cubicBezTo>
                <a:cubicBezTo>
                  <a:pt x="452" y="410"/>
                  <a:pt x="454" y="407"/>
                  <a:pt x="456" y="405"/>
                </a:cubicBezTo>
                <a:cubicBezTo>
                  <a:pt x="457" y="403"/>
                  <a:pt x="458" y="402"/>
                  <a:pt x="458" y="402"/>
                </a:cubicBezTo>
                <a:cubicBezTo>
                  <a:pt x="458" y="402"/>
                  <a:pt x="456" y="398"/>
                  <a:pt x="452" y="392"/>
                </a:cubicBezTo>
                <a:cubicBezTo>
                  <a:pt x="448" y="387"/>
                  <a:pt x="442" y="379"/>
                  <a:pt x="436" y="372"/>
                </a:cubicBezTo>
                <a:cubicBezTo>
                  <a:pt x="434" y="369"/>
                  <a:pt x="431" y="366"/>
                  <a:pt x="429" y="364"/>
                </a:cubicBezTo>
                <a:cubicBezTo>
                  <a:pt x="430" y="363"/>
                  <a:pt x="430" y="362"/>
                  <a:pt x="431" y="361"/>
                </a:cubicBezTo>
                <a:cubicBezTo>
                  <a:pt x="431" y="360"/>
                  <a:pt x="432" y="359"/>
                  <a:pt x="432" y="358"/>
                </a:cubicBezTo>
                <a:cubicBezTo>
                  <a:pt x="435" y="354"/>
                  <a:pt x="436" y="351"/>
                  <a:pt x="437" y="348"/>
                </a:cubicBezTo>
                <a:cubicBezTo>
                  <a:pt x="439" y="346"/>
                  <a:pt x="439" y="345"/>
                  <a:pt x="439" y="345"/>
                </a:cubicBezTo>
                <a:cubicBezTo>
                  <a:pt x="439" y="345"/>
                  <a:pt x="440" y="343"/>
                  <a:pt x="441" y="341"/>
                </a:cubicBezTo>
                <a:cubicBezTo>
                  <a:pt x="442" y="339"/>
                  <a:pt x="444" y="335"/>
                  <a:pt x="445" y="331"/>
                </a:cubicBezTo>
                <a:cubicBezTo>
                  <a:pt x="446" y="329"/>
                  <a:pt x="447" y="327"/>
                  <a:pt x="448" y="325"/>
                </a:cubicBezTo>
                <a:cubicBezTo>
                  <a:pt x="451" y="325"/>
                  <a:pt x="455" y="325"/>
                  <a:pt x="459" y="325"/>
                </a:cubicBezTo>
                <a:cubicBezTo>
                  <a:pt x="464" y="325"/>
                  <a:pt x="468" y="325"/>
                  <a:pt x="473" y="325"/>
                </a:cubicBezTo>
                <a:cubicBezTo>
                  <a:pt x="475" y="325"/>
                  <a:pt x="477" y="325"/>
                  <a:pt x="479" y="325"/>
                </a:cubicBezTo>
                <a:cubicBezTo>
                  <a:pt x="481" y="325"/>
                  <a:pt x="483" y="325"/>
                  <a:pt x="484" y="325"/>
                </a:cubicBezTo>
                <a:cubicBezTo>
                  <a:pt x="491" y="324"/>
                  <a:pt x="496" y="324"/>
                  <a:pt x="496" y="324"/>
                </a:cubicBezTo>
                <a:cubicBezTo>
                  <a:pt x="496" y="324"/>
                  <a:pt x="496" y="322"/>
                  <a:pt x="497" y="320"/>
                </a:cubicBezTo>
                <a:cubicBezTo>
                  <a:pt x="497" y="319"/>
                  <a:pt x="497" y="318"/>
                  <a:pt x="498" y="318"/>
                </a:cubicBezTo>
                <a:cubicBezTo>
                  <a:pt x="498" y="317"/>
                  <a:pt x="498" y="316"/>
                  <a:pt x="498" y="316"/>
                </a:cubicBezTo>
                <a:cubicBezTo>
                  <a:pt x="498" y="314"/>
                  <a:pt x="499" y="312"/>
                  <a:pt x="499" y="311"/>
                </a:cubicBezTo>
                <a:cubicBezTo>
                  <a:pt x="500" y="309"/>
                  <a:pt x="500" y="307"/>
                  <a:pt x="500" y="306"/>
                </a:cubicBezTo>
                <a:cubicBezTo>
                  <a:pt x="501" y="304"/>
                  <a:pt x="501" y="303"/>
                  <a:pt x="501" y="302"/>
                </a:cubicBezTo>
                <a:cubicBezTo>
                  <a:pt x="502" y="299"/>
                  <a:pt x="502" y="297"/>
                  <a:pt x="502" y="297"/>
                </a:cubicBezTo>
                <a:cubicBezTo>
                  <a:pt x="502" y="297"/>
                  <a:pt x="498" y="295"/>
                  <a:pt x="492" y="292"/>
                </a:cubicBezTo>
                <a:cubicBezTo>
                  <a:pt x="486" y="288"/>
                  <a:pt x="477" y="284"/>
                  <a:pt x="469" y="280"/>
                </a:cubicBezTo>
                <a:close/>
                <a:moveTo>
                  <a:pt x="251" y="408"/>
                </a:moveTo>
                <a:cubicBezTo>
                  <a:pt x="166" y="408"/>
                  <a:pt x="98" y="339"/>
                  <a:pt x="98" y="254"/>
                </a:cubicBezTo>
                <a:cubicBezTo>
                  <a:pt x="98" y="169"/>
                  <a:pt x="166" y="101"/>
                  <a:pt x="251" y="101"/>
                </a:cubicBezTo>
                <a:cubicBezTo>
                  <a:pt x="336" y="101"/>
                  <a:pt x="405" y="169"/>
                  <a:pt x="405" y="254"/>
                </a:cubicBezTo>
                <a:cubicBezTo>
                  <a:pt x="405" y="339"/>
                  <a:pt x="336" y="408"/>
                  <a:pt x="251" y="40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03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任意多边形: 形状 7"/>
          <p:cNvSpPr/>
          <p:nvPr/>
        </p:nvSpPr>
        <p:spPr bwMode="auto">
          <a:xfrm>
            <a:off x="4529932" y="3403600"/>
            <a:ext cx="1239837" cy="1255713"/>
          </a:xfrm>
          <a:custGeom>
            <a:avLst/>
            <a:gdLst>
              <a:gd name="T0" fmla="*/ 302 w 330"/>
              <a:gd name="T1" fmla="*/ 167 h 334"/>
              <a:gd name="T2" fmla="*/ 323 w 330"/>
              <a:gd name="T3" fmla="*/ 143 h 334"/>
              <a:gd name="T4" fmla="*/ 327 w 330"/>
              <a:gd name="T5" fmla="*/ 127 h 334"/>
              <a:gd name="T6" fmla="*/ 314 w 330"/>
              <a:gd name="T7" fmla="*/ 121 h 334"/>
              <a:gd name="T8" fmla="*/ 290 w 330"/>
              <a:gd name="T9" fmla="*/ 110 h 334"/>
              <a:gd name="T10" fmla="*/ 282 w 330"/>
              <a:gd name="T11" fmla="*/ 95 h 334"/>
              <a:gd name="T12" fmla="*/ 296 w 330"/>
              <a:gd name="T13" fmla="*/ 63 h 334"/>
              <a:gd name="T14" fmla="*/ 283 w 330"/>
              <a:gd name="T15" fmla="*/ 59 h 334"/>
              <a:gd name="T16" fmla="*/ 251 w 330"/>
              <a:gd name="T17" fmla="*/ 60 h 334"/>
              <a:gd name="T18" fmla="*/ 241 w 330"/>
              <a:gd name="T19" fmla="*/ 44 h 334"/>
              <a:gd name="T20" fmla="*/ 243 w 330"/>
              <a:gd name="T21" fmla="*/ 19 h 334"/>
              <a:gd name="T22" fmla="*/ 224 w 330"/>
              <a:gd name="T23" fmla="*/ 19 h 334"/>
              <a:gd name="T24" fmla="*/ 201 w 330"/>
              <a:gd name="T25" fmla="*/ 35 h 334"/>
              <a:gd name="T26" fmla="*/ 186 w 330"/>
              <a:gd name="T27" fmla="*/ 32 h 334"/>
              <a:gd name="T28" fmla="*/ 173 w 330"/>
              <a:gd name="T29" fmla="*/ 0 h 334"/>
              <a:gd name="T30" fmla="*/ 156 w 330"/>
              <a:gd name="T31" fmla="*/ 0 h 334"/>
              <a:gd name="T32" fmla="*/ 137 w 330"/>
              <a:gd name="T33" fmla="*/ 33 h 334"/>
              <a:gd name="T34" fmla="*/ 125 w 330"/>
              <a:gd name="T35" fmla="*/ 36 h 334"/>
              <a:gd name="T36" fmla="*/ 101 w 330"/>
              <a:gd name="T37" fmla="*/ 13 h 334"/>
              <a:gd name="T38" fmla="*/ 85 w 330"/>
              <a:gd name="T39" fmla="*/ 20 h 334"/>
              <a:gd name="T40" fmla="*/ 91 w 330"/>
              <a:gd name="T41" fmla="*/ 52 h 334"/>
              <a:gd name="T42" fmla="*/ 77 w 330"/>
              <a:gd name="T43" fmla="*/ 62 h 334"/>
              <a:gd name="T44" fmla="*/ 42 w 330"/>
              <a:gd name="T45" fmla="*/ 57 h 334"/>
              <a:gd name="T46" fmla="*/ 31 w 330"/>
              <a:gd name="T47" fmla="*/ 68 h 334"/>
              <a:gd name="T48" fmla="*/ 47 w 330"/>
              <a:gd name="T49" fmla="*/ 97 h 334"/>
              <a:gd name="T50" fmla="*/ 38 w 330"/>
              <a:gd name="T51" fmla="*/ 117 h 334"/>
              <a:gd name="T52" fmla="*/ 12 w 330"/>
              <a:gd name="T53" fmla="*/ 121 h 334"/>
              <a:gd name="T54" fmla="*/ 2 w 330"/>
              <a:gd name="T55" fmla="*/ 130 h 334"/>
              <a:gd name="T56" fmla="*/ 22 w 330"/>
              <a:gd name="T57" fmla="*/ 150 h 334"/>
              <a:gd name="T58" fmla="*/ 28 w 330"/>
              <a:gd name="T59" fmla="*/ 170 h 334"/>
              <a:gd name="T60" fmla="*/ 0 w 330"/>
              <a:gd name="T61" fmla="*/ 196 h 334"/>
              <a:gd name="T62" fmla="*/ 3 w 330"/>
              <a:gd name="T63" fmla="*/ 209 h 334"/>
              <a:gd name="T64" fmla="*/ 19 w 330"/>
              <a:gd name="T65" fmla="*/ 214 h 334"/>
              <a:gd name="T66" fmla="*/ 41 w 330"/>
              <a:gd name="T67" fmla="*/ 227 h 334"/>
              <a:gd name="T68" fmla="*/ 43 w 330"/>
              <a:gd name="T69" fmla="*/ 245 h 334"/>
              <a:gd name="T70" fmla="*/ 36 w 330"/>
              <a:gd name="T71" fmla="*/ 274 h 334"/>
              <a:gd name="T72" fmla="*/ 62 w 330"/>
              <a:gd name="T73" fmla="*/ 268 h 334"/>
              <a:gd name="T74" fmla="*/ 79 w 330"/>
              <a:gd name="T75" fmla="*/ 274 h 334"/>
              <a:gd name="T76" fmla="*/ 87 w 330"/>
              <a:gd name="T77" fmla="*/ 299 h 334"/>
              <a:gd name="T78" fmla="*/ 92 w 330"/>
              <a:gd name="T79" fmla="*/ 318 h 334"/>
              <a:gd name="T80" fmla="*/ 111 w 330"/>
              <a:gd name="T81" fmla="*/ 310 h 334"/>
              <a:gd name="T82" fmla="*/ 130 w 330"/>
              <a:gd name="T83" fmla="*/ 300 h 334"/>
              <a:gd name="T84" fmla="*/ 148 w 330"/>
              <a:gd name="T85" fmla="*/ 303 h 334"/>
              <a:gd name="T86" fmla="*/ 159 w 330"/>
              <a:gd name="T87" fmla="*/ 334 h 334"/>
              <a:gd name="T88" fmla="*/ 176 w 330"/>
              <a:gd name="T89" fmla="*/ 327 h 334"/>
              <a:gd name="T90" fmla="*/ 195 w 330"/>
              <a:gd name="T91" fmla="*/ 301 h 334"/>
              <a:gd name="T92" fmla="*/ 209 w 330"/>
              <a:gd name="T93" fmla="*/ 297 h 334"/>
              <a:gd name="T94" fmla="*/ 230 w 330"/>
              <a:gd name="T95" fmla="*/ 321 h 334"/>
              <a:gd name="T96" fmla="*/ 245 w 330"/>
              <a:gd name="T97" fmla="*/ 314 h 334"/>
              <a:gd name="T98" fmla="*/ 243 w 330"/>
              <a:gd name="T99" fmla="*/ 280 h 334"/>
              <a:gd name="T100" fmla="*/ 258 w 330"/>
              <a:gd name="T101" fmla="*/ 268 h 334"/>
              <a:gd name="T102" fmla="*/ 290 w 330"/>
              <a:gd name="T103" fmla="*/ 278 h 334"/>
              <a:gd name="T104" fmla="*/ 301 w 330"/>
              <a:gd name="T105" fmla="*/ 264 h 334"/>
              <a:gd name="T106" fmla="*/ 284 w 330"/>
              <a:gd name="T107" fmla="*/ 235 h 334"/>
              <a:gd name="T108" fmla="*/ 294 w 330"/>
              <a:gd name="T109" fmla="*/ 214 h 334"/>
              <a:gd name="T110" fmla="*/ 326 w 330"/>
              <a:gd name="T111" fmla="*/ 213 h 334"/>
              <a:gd name="T112" fmla="*/ 329 w 330"/>
              <a:gd name="T113" fmla="*/ 201 h 334"/>
              <a:gd name="T114" fmla="*/ 165 w 330"/>
              <a:gd name="T115" fmla="*/ 268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30" h="334">
                <a:moveTo>
                  <a:pt x="308" y="184"/>
                </a:moveTo>
                <a:cubicBezTo>
                  <a:pt x="306" y="183"/>
                  <a:pt x="304" y="182"/>
                  <a:pt x="301" y="181"/>
                </a:cubicBezTo>
                <a:cubicBezTo>
                  <a:pt x="301" y="180"/>
                  <a:pt x="302" y="178"/>
                  <a:pt x="302" y="177"/>
                </a:cubicBezTo>
                <a:cubicBezTo>
                  <a:pt x="302" y="174"/>
                  <a:pt x="302" y="172"/>
                  <a:pt x="302" y="170"/>
                </a:cubicBezTo>
                <a:cubicBezTo>
                  <a:pt x="302" y="168"/>
                  <a:pt x="302" y="167"/>
                  <a:pt x="302" y="167"/>
                </a:cubicBezTo>
                <a:cubicBezTo>
                  <a:pt x="302" y="167"/>
                  <a:pt x="302" y="166"/>
                  <a:pt x="302" y="165"/>
                </a:cubicBezTo>
                <a:cubicBezTo>
                  <a:pt x="302" y="163"/>
                  <a:pt x="302" y="161"/>
                  <a:pt x="302" y="158"/>
                </a:cubicBezTo>
                <a:cubicBezTo>
                  <a:pt x="302" y="156"/>
                  <a:pt x="301" y="155"/>
                  <a:pt x="301" y="153"/>
                </a:cubicBezTo>
                <a:cubicBezTo>
                  <a:pt x="304" y="152"/>
                  <a:pt x="306" y="151"/>
                  <a:pt x="308" y="150"/>
                </a:cubicBezTo>
                <a:cubicBezTo>
                  <a:pt x="314" y="147"/>
                  <a:pt x="319" y="145"/>
                  <a:pt x="323" y="143"/>
                </a:cubicBezTo>
                <a:cubicBezTo>
                  <a:pt x="327" y="140"/>
                  <a:pt x="330" y="139"/>
                  <a:pt x="330" y="139"/>
                </a:cubicBezTo>
                <a:cubicBezTo>
                  <a:pt x="330" y="139"/>
                  <a:pt x="329" y="138"/>
                  <a:pt x="329" y="136"/>
                </a:cubicBezTo>
                <a:cubicBezTo>
                  <a:pt x="329" y="135"/>
                  <a:pt x="329" y="134"/>
                  <a:pt x="329" y="133"/>
                </a:cubicBezTo>
                <a:cubicBezTo>
                  <a:pt x="328" y="132"/>
                  <a:pt x="328" y="131"/>
                  <a:pt x="328" y="130"/>
                </a:cubicBezTo>
                <a:cubicBezTo>
                  <a:pt x="328" y="129"/>
                  <a:pt x="327" y="128"/>
                  <a:pt x="327" y="127"/>
                </a:cubicBezTo>
                <a:cubicBezTo>
                  <a:pt x="327" y="126"/>
                  <a:pt x="327" y="126"/>
                  <a:pt x="327" y="125"/>
                </a:cubicBezTo>
                <a:cubicBezTo>
                  <a:pt x="327" y="125"/>
                  <a:pt x="327" y="125"/>
                  <a:pt x="326" y="124"/>
                </a:cubicBezTo>
                <a:cubicBezTo>
                  <a:pt x="326" y="123"/>
                  <a:pt x="326" y="121"/>
                  <a:pt x="326" y="121"/>
                </a:cubicBezTo>
                <a:cubicBezTo>
                  <a:pt x="326" y="121"/>
                  <a:pt x="323" y="121"/>
                  <a:pt x="318" y="121"/>
                </a:cubicBezTo>
                <a:cubicBezTo>
                  <a:pt x="317" y="121"/>
                  <a:pt x="316" y="121"/>
                  <a:pt x="314" y="121"/>
                </a:cubicBezTo>
                <a:cubicBezTo>
                  <a:pt x="313" y="121"/>
                  <a:pt x="312" y="121"/>
                  <a:pt x="310" y="121"/>
                </a:cubicBezTo>
                <a:cubicBezTo>
                  <a:pt x="308" y="121"/>
                  <a:pt x="304" y="121"/>
                  <a:pt x="301" y="121"/>
                </a:cubicBezTo>
                <a:cubicBezTo>
                  <a:pt x="299" y="121"/>
                  <a:pt x="296" y="121"/>
                  <a:pt x="294" y="121"/>
                </a:cubicBezTo>
                <a:cubicBezTo>
                  <a:pt x="293" y="119"/>
                  <a:pt x="293" y="118"/>
                  <a:pt x="292" y="117"/>
                </a:cubicBezTo>
                <a:cubicBezTo>
                  <a:pt x="291" y="114"/>
                  <a:pt x="290" y="112"/>
                  <a:pt x="290" y="110"/>
                </a:cubicBezTo>
                <a:cubicBezTo>
                  <a:pt x="289" y="109"/>
                  <a:pt x="288" y="108"/>
                  <a:pt x="288" y="108"/>
                </a:cubicBezTo>
                <a:cubicBezTo>
                  <a:pt x="288" y="108"/>
                  <a:pt x="288" y="107"/>
                  <a:pt x="287" y="105"/>
                </a:cubicBezTo>
                <a:cubicBezTo>
                  <a:pt x="287" y="104"/>
                  <a:pt x="285" y="102"/>
                  <a:pt x="284" y="99"/>
                </a:cubicBezTo>
                <a:cubicBezTo>
                  <a:pt x="284" y="99"/>
                  <a:pt x="283" y="98"/>
                  <a:pt x="283" y="97"/>
                </a:cubicBezTo>
                <a:cubicBezTo>
                  <a:pt x="282" y="97"/>
                  <a:pt x="282" y="96"/>
                  <a:pt x="282" y="95"/>
                </a:cubicBezTo>
                <a:cubicBezTo>
                  <a:pt x="283" y="93"/>
                  <a:pt x="285" y="92"/>
                  <a:pt x="287" y="90"/>
                </a:cubicBezTo>
                <a:cubicBezTo>
                  <a:pt x="290" y="85"/>
                  <a:pt x="294" y="80"/>
                  <a:pt x="297" y="76"/>
                </a:cubicBezTo>
                <a:cubicBezTo>
                  <a:pt x="299" y="73"/>
                  <a:pt x="301" y="70"/>
                  <a:pt x="301" y="70"/>
                </a:cubicBezTo>
                <a:cubicBezTo>
                  <a:pt x="301" y="70"/>
                  <a:pt x="300" y="69"/>
                  <a:pt x="299" y="68"/>
                </a:cubicBezTo>
                <a:cubicBezTo>
                  <a:pt x="298" y="67"/>
                  <a:pt x="297" y="65"/>
                  <a:pt x="296" y="63"/>
                </a:cubicBezTo>
                <a:cubicBezTo>
                  <a:pt x="295" y="62"/>
                  <a:pt x="294" y="61"/>
                  <a:pt x="294" y="60"/>
                </a:cubicBezTo>
                <a:cubicBezTo>
                  <a:pt x="293" y="60"/>
                  <a:pt x="292" y="59"/>
                  <a:pt x="292" y="58"/>
                </a:cubicBezTo>
                <a:cubicBezTo>
                  <a:pt x="291" y="57"/>
                  <a:pt x="290" y="56"/>
                  <a:pt x="290" y="56"/>
                </a:cubicBezTo>
                <a:cubicBezTo>
                  <a:pt x="290" y="56"/>
                  <a:pt x="289" y="57"/>
                  <a:pt x="288" y="57"/>
                </a:cubicBezTo>
                <a:cubicBezTo>
                  <a:pt x="287" y="57"/>
                  <a:pt x="285" y="58"/>
                  <a:pt x="283" y="59"/>
                </a:cubicBezTo>
                <a:cubicBezTo>
                  <a:pt x="279" y="61"/>
                  <a:pt x="273" y="63"/>
                  <a:pt x="268" y="66"/>
                </a:cubicBezTo>
                <a:cubicBezTo>
                  <a:pt x="265" y="67"/>
                  <a:pt x="263" y="68"/>
                  <a:pt x="261" y="69"/>
                </a:cubicBezTo>
                <a:cubicBezTo>
                  <a:pt x="260" y="68"/>
                  <a:pt x="259" y="67"/>
                  <a:pt x="258" y="66"/>
                </a:cubicBezTo>
                <a:cubicBezTo>
                  <a:pt x="256" y="64"/>
                  <a:pt x="254" y="63"/>
                  <a:pt x="252" y="62"/>
                </a:cubicBezTo>
                <a:cubicBezTo>
                  <a:pt x="252" y="61"/>
                  <a:pt x="251" y="61"/>
                  <a:pt x="251" y="60"/>
                </a:cubicBezTo>
                <a:cubicBezTo>
                  <a:pt x="251" y="60"/>
                  <a:pt x="250" y="60"/>
                  <a:pt x="250" y="60"/>
                </a:cubicBezTo>
                <a:cubicBezTo>
                  <a:pt x="250" y="60"/>
                  <a:pt x="250" y="59"/>
                  <a:pt x="248" y="58"/>
                </a:cubicBezTo>
                <a:cubicBezTo>
                  <a:pt x="247" y="57"/>
                  <a:pt x="245" y="56"/>
                  <a:pt x="243" y="54"/>
                </a:cubicBezTo>
                <a:cubicBezTo>
                  <a:pt x="242" y="54"/>
                  <a:pt x="240" y="53"/>
                  <a:pt x="239" y="52"/>
                </a:cubicBezTo>
                <a:cubicBezTo>
                  <a:pt x="240" y="49"/>
                  <a:pt x="240" y="47"/>
                  <a:pt x="241" y="44"/>
                </a:cubicBezTo>
                <a:cubicBezTo>
                  <a:pt x="242" y="42"/>
                  <a:pt x="242" y="39"/>
                  <a:pt x="243" y="36"/>
                </a:cubicBezTo>
                <a:cubicBezTo>
                  <a:pt x="243" y="33"/>
                  <a:pt x="244" y="31"/>
                  <a:pt x="244" y="28"/>
                </a:cubicBezTo>
                <a:cubicBezTo>
                  <a:pt x="245" y="24"/>
                  <a:pt x="245" y="21"/>
                  <a:pt x="245" y="21"/>
                </a:cubicBezTo>
                <a:cubicBezTo>
                  <a:pt x="245" y="21"/>
                  <a:pt x="245" y="21"/>
                  <a:pt x="245" y="20"/>
                </a:cubicBezTo>
                <a:cubicBezTo>
                  <a:pt x="244" y="20"/>
                  <a:pt x="244" y="20"/>
                  <a:pt x="243" y="19"/>
                </a:cubicBezTo>
                <a:cubicBezTo>
                  <a:pt x="241" y="19"/>
                  <a:pt x="239" y="18"/>
                  <a:pt x="237" y="17"/>
                </a:cubicBezTo>
                <a:cubicBezTo>
                  <a:pt x="235" y="16"/>
                  <a:pt x="233" y="15"/>
                  <a:pt x="232" y="14"/>
                </a:cubicBezTo>
                <a:cubicBezTo>
                  <a:pt x="231" y="14"/>
                  <a:pt x="230" y="13"/>
                  <a:pt x="230" y="13"/>
                </a:cubicBezTo>
                <a:cubicBezTo>
                  <a:pt x="230" y="13"/>
                  <a:pt x="229" y="13"/>
                  <a:pt x="229" y="13"/>
                </a:cubicBezTo>
                <a:cubicBezTo>
                  <a:pt x="229" y="13"/>
                  <a:pt x="227" y="15"/>
                  <a:pt x="224" y="19"/>
                </a:cubicBezTo>
                <a:cubicBezTo>
                  <a:pt x="223" y="20"/>
                  <a:pt x="221" y="22"/>
                  <a:pt x="219" y="24"/>
                </a:cubicBezTo>
                <a:cubicBezTo>
                  <a:pt x="217" y="27"/>
                  <a:pt x="215" y="29"/>
                  <a:pt x="214" y="31"/>
                </a:cubicBezTo>
                <a:cubicBezTo>
                  <a:pt x="212" y="33"/>
                  <a:pt x="211" y="35"/>
                  <a:pt x="209" y="37"/>
                </a:cubicBezTo>
                <a:cubicBezTo>
                  <a:pt x="208" y="37"/>
                  <a:pt x="206" y="36"/>
                  <a:pt x="205" y="36"/>
                </a:cubicBezTo>
                <a:cubicBezTo>
                  <a:pt x="203" y="36"/>
                  <a:pt x="202" y="35"/>
                  <a:pt x="201" y="35"/>
                </a:cubicBezTo>
                <a:cubicBezTo>
                  <a:pt x="200" y="35"/>
                  <a:pt x="200" y="35"/>
                  <a:pt x="199" y="34"/>
                </a:cubicBezTo>
                <a:cubicBezTo>
                  <a:pt x="199" y="34"/>
                  <a:pt x="198" y="34"/>
                  <a:pt x="198" y="34"/>
                </a:cubicBezTo>
                <a:cubicBezTo>
                  <a:pt x="196" y="34"/>
                  <a:pt x="195" y="34"/>
                  <a:pt x="195" y="34"/>
                </a:cubicBezTo>
                <a:cubicBezTo>
                  <a:pt x="195" y="34"/>
                  <a:pt x="194" y="33"/>
                  <a:pt x="193" y="33"/>
                </a:cubicBezTo>
                <a:cubicBezTo>
                  <a:pt x="191" y="33"/>
                  <a:pt x="189" y="32"/>
                  <a:pt x="186" y="32"/>
                </a:cubicBezTo>
                <a:cubicBezTo>
                  <a:pt x="185" y="32"/>
                  <a:pt x="183" y="31"/>
                  <a:pt x="181" y="31"/>
                </a:cubicBezTo>
                <a:cubicBezTo>
                  <a:pt x="181" y="29"/>
                  <a:pt x="181" y="26"/>
                  <a:pt x="180" y="24"/>
                </a:cubicBezTo>
                <a:cubicBezTo>
                  <a:pt x="179" y="18"/>
                  <a:pt x="177" y="12"/>
                  <a:pt x="176" y="8"/>
                </a:cubicBezTo>
                <a:cubicBezTo>
                  <a:pt x="175" y="3"/>
                  <a:pt x="174" y="0"/>
                  <a:pt x="174" y="0"/>
                </a:cubicBezTo>
                <a:cubicBezTo>
                  <a:pt x="174" y="0"/>
                  <a:pt x="174" y="0"/>
                  <a:pt x="173" y="0"/>
                </a:cubicBezTo>
                <a:cubicBezTo>
                  <a:pt x="173" y="0"/>
                  <a:pt x="172" y="0"/>
                  <a:pt x="171" y="0"/>
                </a:cubicBezTo>
                <a:cubicBezTo>
                  <a:pt x="169" y="0"/>
                  <a:pt x="167" y="0"/>
                  <a:pt x="165" y="0"/>
                </a:cubicBezTo>
                <a:cubicBezTo>
                  <a:pt x="163" y="0"/>
                  <a:pt x="160" y="0"/>
                  <a:pt x="159" y="0"/>
                </a:cubicBezTo>
                <a:cubicBezTo>
                  <a:pt x="158" y="0"/>
                  <a:pt x="157" y="0"/>
                  <a:pt x="157" y="0"/>
                </a:cubicBezTo>
                <a:cubicBezTo>
                  <a:pt x="156" y="0"/>
                  <a:pt x="156" y="0"/>
                  <a:pt x="156" y="0"/>
                </a:cubicBezTo>
                <a:cubicBezTo>
                  <a:pt x="156" y="0"/>
                  <a:pt x="155" y="3"/>
                  <a:pt x="154" y="8"/>
                </a:cubicBezTo>
                <a:cubicBezTo>
                  <a:pt x="153" y="12"/>
                  <a:pt x="151" y="18"/>
                  <a:pt x="150" y="24"/>
                </a:cubicBezTo>
                <a:cubicBezTo>
                  <a:pt x="149" y="26"/>
                  <a:pt x="149" y="29"/>
                  <a:pt x="148" y="31"/>
                </a:cubicBezTo>
                <a:cubicBezTo>
                  <a:pt x="147" y="31"/>
                  <a:pt x="145" y="32"/>
                  <a:pt x="144" y="32"/>
                </a:cubicBezTo>
                <a:cubicBezTo>
                  <a:pt x="141" y="32"/>
                  <a:pt x="139" y="33"/>
                  <a:pt x="137" y="33"/>
                </a:cubicBezTo>
                <a:cubicBezTo>
                  <a:pt x="135" y="33"/>
                  <a:pt x="134" y="34"/>
                  <a:pt x="134" y="34"/>
                </a:cubicBezTo>
                <a:cubicBezTo>
                  <a:pt x="134" y="34"/>
                  <a:pt x="133" y="34"/>
                  <a:pt x="132" y="34"/>
                </a:cubicBezTo>
                <a:cubicBezTo>
                  <a:pt x="131" y="34"/>
                  <a:pt x="131" y="34"/>
                  <a:pt x="130" y="34"/>
                </a:cubicBezTo>
                <a:cubicBezTo>
                  <a:pt x="130" y="35"/>
                  <a:pt x="129" y="35"/>
                  <a:pt x="129" y="35"/>
                </a:cubicBezTo>
                <a:cubicBezTo>
                  <a:pt x="128" y="35"/>
                  <a:pt x="126" y="36"/>
                  <a:pt x="125" y="36"/>
                </a:cubicBezTo>
                <a:cubicBezTo>
                  <a:pt x="124" y="36"/>
                  <a:pt x="122" y="37"/>
                  <a:pt x="121" y="37"/>
                </a:cubicBezTo>
                <a:cubicBezTo>
                  <a:pt x="119" y="35"/>
                  <a:pt x="118" y="33"/>
                  <a:pt x="116" y="31"/>
                </a:cubicBezTo>
                <a:cubicBezTo>
                  <a:pt x="114" y="29"/>
                  <a:pt x="112" y="27"/>
                  <a:pt x="111" y="24"/>
                </a:cubicBezTo>
                <a:cubicBezTo>
                  <a:pt x="109" y="22"/>
                  <a:pt x="107" y="20"/>
                  <a:pt x="106" y="19"/>
                </a:cubicBezTo>
                <a:cubicBezTo>
                  <a:pt x="103" y="15"/>
                  <a:pt x="101" y="13"/>
                  <a:pt x="101" y="13"/>
                </a:cubicBezTo>
                <a:cubicBezTo>
                  <a:pt x="101" y="13"/>
                  <a:pt x="100" y="13"/>
                  <a:pt x="100" y="13"/>
                </a:cubicBezTo>
                <a:cubicBezTo>
                  <a:pt x="99" y="13"/>
                  <a:pt x="99" y="14"/>
                  <a:pt x="98" y="14"/>
                </a:cubicBezTo>
                <a:cubicBezTo>
                  <a:pt x="96" y="15"/>
                  <a:pt x="94" y="16"/>
                  <a:pt x="92" y="17"/>
                </a:cubicBezTo>
                <a:cubicBezTo>
                  <a:pt x="90" y="18"/>
                  <a:pt x="88" y="19"/>
                  <a:pt x="87" y="19"/>
                </a:cubicBezTo>
                <a:cubicBezTo>
                  <a:pt x="86" y="20"/>
                  <a:pt x="86" y="20"/>
                  <a:pt x="85" y="20"/>
                </a:cubicBezTo>
                <a:cubicBezTo>
                  <a:pt x="85" y="21"/>
                  <a:pt x="84" y="21"/>
                  <a:pt x="84" y="21"/>
                </a:cubicBezTo>
                <a:cubicBezTo>
                  <a:pt x="84" y="21"/>
                  <a:pt x="85" y="24"/>
                  <a:pt x="86" y="28"/>
                </a:cubicBezTo>
                <a:cubicBezTo>
                  <a:pt x="86" y="31"/>
                  <a:pt x="87" y="33"/>
                  <a:pt x="87" y="36"/>
                </a:cubicBezTo>
                <a:cubicBezTo>
                  <a:pt x="88" y="39"/>
                  <a:pt x="88" y="42"/>
                  <a:pt x="89" y="44"/>
                </a:cubicBezTo>
                <a:cubicBezTo>
                  <a:pt x="90" y="47"/>
                  <a:pt x="90" y="49"/>
                  <a:pt x="91" y="52"/>
                </a:cubicBezTo>
                <a:cubicBezTo>
                  <a:pt x="90" y="53"/>
                  <a:pt x="88" y="54"/>
                  <a:pt x="87" y="54"/>
                </a:cubicBezTo>
                <a:cubicBezTo>
                  <a:pt x="85" y="56"/>
                  <a:pt x="83" y="57"/>
                  <a:pt x="82" y="58"/>
                </a:cubicBezTo>
                <a:cubicBezTo>
                  <a:pt x="80" y="59"/>
                  <a:pt x="79" y="60"/>
                  <a:pt x="79" y="60"/>
                </a:cubicBezTo>
                <a:cubicBezTo>
                  <a:pt x="79" y="60"/>
                  <a:pt x="79" y="60"/>
                  <a:pt x="79" y="60"/>
                </a:cubicBezTo>
                <a:cubicBezTo>
                  <a:pt x="79" y="61"/>
                  <a:pt x="78" y="61"/>
                  <a:pt x="77" y="62"/>
                </a:cubicBezTo>
                <a:cubicBezTo>
                  <a:pt x="76" y="63"/>
                  <a:pt x="74" y="64"/>
                  <a:pt x="72" y="66"/>
                </a:cubicBezTo>
                <a:cubicBezTo>
                  <a:pt x="71" y="67"/>
                  <a:pt x="70" y="68"/>
                  <a:pt x="69" y="69"/>
                </a:cubicBezTo>
                <a:cubicBezTo>
                  <a:pt x="67" y="68"/>
                  <a:pt x="64" y="67"/>
                  <a:pt x="62" y="66"/>
                </a:cubicBezTo>
                <a:cubicBezTo>
                  <a:pt x="57" y="63"/>
                  <a:pt x="51" y="61"/>
                  <a:pt x="47" y="59"/>
                </a:cubicBezTo>
                <a:cubicBezTo>
                  <a:pt x="45" y="58"/>
                  <a:pt x="43" y="57"/>
                  <a:pt x="42" y="57"/>
                </a:cubicBezTo>
                <a:cubicBezTo>
                  <a:pt x="41" y="57"/>
                  <a:pt x="40" y="56"/>
                  <a:pt x="40" y="56"/>
                </a:cubicBezTo>
                <a:cubicBezTo>
                  <a:pt x="40" y="56"/>
                  <a:pt x="39" y="57"/>
                  <a:pt x="38" y="58"/>
                </a:cubicBezTo>
                <a:cubicBezTo>
                  <a:pt x="38" y="59"/>
                  <a:pt x="37" y="60"/>
                  <a:pt x="36" y="60"/>
                </a:cubicBezTo>
                <a:cubicBezTo>
                  <a:pt x="36" y="61"/>
                  <a:pt x="35" y="62"/>
                  <a:pt x="34" y="63"/>
                </a:cubicBezTo>
                <a:cubicBezTo>
                  <a:pt x="33" y="65"/>
                  <a:pt x="32" y="67"/>
                  <a:pt x="31" y="68"/>
                </a:cubicBezTo>
                <a:cubicBezTo>
                  <a:pt x="30" y="69"/>
                  <a:pt x="29" y="70"/>
                  <a:pt x="29" y="70"/>
                </a:cubicBezTo>
                <a:cubicBezTo>
                  <a:pt x="29" y="70"/>
                  <a:pt x="31" y="73"/>
                  <a:pt x="33" y="76"/>
                </a:cubicBezTo>
                <a:cubicBezTo>
                  <a:pt x="36" y="80"/>
                  <a:pt x="40" y="85"/>
                  <a:pt x="43" y="90"/>
                </a:cubicBezTo>
                <a:cubicBezTo>
                  <a:pt x="45" y="92"/>
                  <a:pt x="47" y="93"/>
                  <a:pt x="48" y="95"/>
                </a:cubicBezTo>
                <a:cubicBezTo>
                  <a:pt x="48" y="96"/>
                  <a:pt x="47" y="97"/>
                  <a:pt x="47" y="97"/>
                </a:cubicBezTo>
                <a:cubicBezTo>
                  <a:pt x="47" y="98"/>
                  <a:pt x="46" y="99"/>
                  <a:pt x="46" y="99"/>
                </a:cubicBezTo>
                <a:cubicBezTo>
                  <a:pt x="44" y="102"/>
                  <a:pt x="43" y="104"/>
                  <a:pt x="43" y="105"/>
                </a:cubicBezTo>
                <a:cubicBezTo>
                  <a:pt x="42" y="107"/>
                  <a:pt x="41" y="108"/>
                  <a:pt x="41" y="108"/>
                </a:cubicBezTo>
                <a:cubicBezTo>
                  <a:pt x="41" y="108"/>
                  <a:pt x="41" y="109"/>
                  <a:pt x="40" y="110"/>
                </a:cubicBezTo>
                <a:cubicBezTo>
                  <a:pt x="40" y="112"/>
                  <a:pt x="39" y="114"/>
                  <a:pt x="38" y="117"/>
                </a:cubicBezTo>
                <a:cubicBezTo>
                  <a:pt x="37" y="118"/>
                  <a:pt x="36" y="119"/>
                  <a:pt x="36" y="121"/>
                </a:cubicBezTo>
                <a:cubicBezTo>
                  <a:pt x="33" y="121"/>
                  <a:pt x="31" y="121"/>
                  <a:pt x="28" y="121"/>
                </a:cubicBezTo>
                <a:cubicBezTo>
                  <a:pt x="25" y="121"/>
                  <a:pt x="22" y="121"/>
                  <a:pt x="19" y="121"/>
                </a:cubicBezTo>
                <a:cubicBezTo>
                  <a:pt x="18" y="121"/>
                  <a:pt x="17" y="121"/>
                  <a:pt x="15" y="121"/>
                </a:cubicBezTo>
                <a:cubicBezTo>
                  <a:pt x="14" y="121"/>
                  <a:pt x="13" y="121"/>
                  <a:pt x="12" y="121"/>
                </a:cubicBezTo>
                <a:cubicBezTo>
                  <a:pt x="7" y="121"/>
                  <a:pt x="4" y="121"/>
                  <a:pt x="4" y="121"/>
                </a:cubicBezTo>
                <a:cubicBezTo>
                  <a:pt x="4" y="121"/>
                  <a:pt x="4" y="123"/>
                  <a:pt x="3" y="124"/>
                </a:cubicBezTo>
                <a:cubicBezTo>
                  <a:pt x="3" y="125"/>
                  <a:pt x="3" y="125"/>
                  <a:pt x="3" y="125"/>
                </a:cubicBezTo>
                <a:cubicBezTo>
                  <a:pt x="3" y="126"/>
                  <a:pt x="3" y="126"/>
                  <a:pt x="3" y="127"/>
                </a:cubicBezTo>
                <a:cubicBezTo>
                  <a:pt x="2" y="128"/>
                  <a:pt x="2" y="129"/>
                  <a:pt x="2" y="130"/>
                </a:cubicBezTo>
                <a:cubicBezTo>
                  <a:pt x="2" y="131"/>
                  <a:pt x="1" y="132"/>
                  <a:pt x="1" y="133"/>
                </a:cubicBezTo>
                <a:cubicBezTo>
                  <a:pt x="1" y="134"/>
                  <a:pt x="1" y="135"/>
                  <a:pt x="1" y="136"/>
                </a:cubicBezTo>
                <a:cubicBezTo>
                  <a:pt x="0" y="138"/>
                  <a:pt x="0" y="139"/>
                  <a:pt x="0" y="139"/>
                </a:cubicBezTo>
                <a:cubicBezTo>
                  <a:pt x="0" y="139"/>
                  <a:pt x="3" y="140"/>
                  <a:pt x="7" y="143"/>
                </a:cubicBezTo>
                <a:cubicBezTo>
                  <a:pt x="11" y="145"/>
                  <a:pt x="16" y="147"/>
                  <a:pt x="22" y="150"/>
                </a:cubicBezTo>
                <a:cubicBezTo>
                  <a:pt x="24" y="151"/>
                  <a:pt x="26" y="152"/>
                  <a:pt x="29" y="153"/>
                </a:cubicBezTo>
                <a:cubicBezTo>
                  <a:pt x="28" y="155"/>
                  <a:pt x="28" y="156"/>
                  <a:pt x="28" y="158"/>
                </a:cubicBezTo>
                <a:cubicBezTo>
                  <a:pt x="28" y="161"/>
                  <a:pt x="28" y="163"/>
                  <a:pt x="28" y="165"/>
                </a:cubicBezTo>
                <a:cubicBezTo>
                  <a:pt x="28" y="166"/>
                  <a:pt x="28" y="167"/>
                  <a:pt x="28" y="167"/>
                </a:cubicBezTo>
                <a:cubicBezTo>
                  <a:pt x="28" y="167"/>
                  <a:pt x="28" y="168"/>
                  <a:pt x="28" y="170"/>
                </a:cubicBezTo>
                <a:cubicBezTo>
                  <a:pt x="28" y="172"/>
                  <a:pt x="28" y="174"/>
                  <a:pt x="28" y="177"/>
                </a:cubicBezTo>
                <a:cubicBezTo>
                  <a:pt x="28" y="178"/>
                  <a:pt x="28" y="180"/>
                  <a:pt x="29" y="181"/>
                </a:cubicBezTo>
                <a:cubicBezTo>
                  <a:pt x="26" y="182"/>
                  <a:pt x="24" y="183"/>
                  <a:pt x="22" y="184"/>
                </a:cubicBezTo>
                <a:cubicBezTo>
                  <a:pt x="16" y="187"/>
                  <a:pt x="11" y="190"/>
                  <a:pt x="7" y="192"/>
                </a:cubicBezTo>
                <a:cubicBezTo>
                  <a:pt x="3" y="194"/>
                  <a:pt x="0" y="196"/>
                  <a:pt x="0" y="196"/>
                </a:cubicBezTo>
                <a:cubicBezTo>
                  <a:pt x="0" y="196"/>
                  <a:pt x="0" y="197"/>
                  <a:pt x="1" y="198"/>
                </a:cubicBezTo>
                <a:cubicBezTo>
                  <a:pt x="1" y="199"/>
                  <a:pt x="1" y="200"/>
                  <a:pt x="1" y="201"/>
                </a:cubicBezTo>
                <a:cubicBezTo>
                  <a:pt x="1" y="202"/>
                  <a:pt x="2" y="203"/>
                  <a:pt x="2" y="204"/>
                </a:cubicBezTo>
                <a:cubicBezTo>
                  <a:pt x="2" y="205"/>
                  <a:pt x="2" y="207"/>
                  <a:pt x="3" y="208"/>
                </a:cubicBezTo>
                <a:cubicBezTo>
                  <a:pt x="3" y="208"/>
                  <a:pt x="3" y="209"/>
                  <a:pt x="3" y="209"/>
                </a:cubicBezTo>
                <a:cubicBezTo>
                  <a:pt x="3" y="210"/>
                  <a:pt x="3" y="210"/>
                  <a:pt x="3" y="210"/>
                </a:cubicBezTo>
                <a:cubicBezTo>
                  <a:pt x="4" y="212"/>
                  <a:pt x="4" y="213"/>
                  <a:pt x="4" y="213"/>
                </a:cubicBezTo>
                <a:cubicBezTo>
                  <a:pt x="4" y="213"/>
                  <a:pt x="7" y="213"/>
                  <a:pt x="12" y="214"/>
                </a:cubicBezTo>
                <a:cubicBezTo>
                  <a:pt x="13" y="214"/>
                  <a:pt x="14" y="214"/>
                  <a:pt x="15" y="214"/>
                </a:cubicBezTo>
                <a:cubicBezTo>
                  <a:pt x="17" y="214"/>
                  <a:pt x="18" y="214"/>
                  <a:pt x="19" y="214"/>
                </a:cubicBezTo>
                <a:cubicBezTo>
                  <a:pt x="22" y="214"/>
                  <a:pt x="25" y="214"/>
                  <a:pt x="28" y="214"/>
                </a:cubicBezTo>
                <a:cubicBezTo>
                  <a:pt x="31" y="214"/>
                  <a:pt x="33" y="214"/>
                  <a:pt x="36" y="214"/>
                </a:cubicBezTo>
                <a:cubicBezTo>
                  <a:pt x="36" y="215"/>
                  <a:pt x="37" y="217"/>
                  <a:pt x="38" y="218"/>
                </a:cubicBezTo>
                <a:cubicBezTo>
                  <a:pt x="39" y="221"/>
                  <a:pt x="40" y="223"/>
                  <a:pt x="40" y="224"/>
                </a:cubicBezTo>
                <a:cubicBezTo>
                  <a:pt x="41" y="226"/>
                  <a:pt x="41" y="227"/>
                  <a:pt x="41" y="227"/>
                </a:cubicBezTo>
                <a:cubicBezTo>
                  <a:pt x="41" y="227"/>
                  <a:pt x="42" y="228"/>
                  <a:pt x="43" y="229"/>
                </a:cubicBezTo>
                <a:cubicBezTo>
                  <a:pt x="43" y="231"/>
                  <a:pt x="44" y="233"/>
                  <a:pt x="46" y="235"/>
                </a:cubicBezTo>
                <a:cubicBezTo>
                  <a:pt x="46" y="236"/>
                  <a:pt x="47" y="237"/>
                  <a:pt x="47" y="237"/>
                </a:cubicBezTo>
                <a:cubicBezTo>
                  <a:pt x="47" y="238"/>
                  <a:pt x="48" y="239"/>
                  <a:pt x="48" y="239"/>
                </a:cubicBezTo>
                <a:cubicBezTo>
                  <a:pt x="47" y="241"/>
                  <a:pt x="45" y="243"/>
                  <a:pt x="43" y="245"/>
                </a:cubicBezTo>
                <a:cubicBezTo>
                  <a:pt x="40" y="250"/>
                  <a:pt x="36" y="254"/>
                  <a:pt x="33" y="258"/>
                </a:cubicBezTo>
                <a:cubicBezTo>
                  <a:pt x="31" y="262"/>
                  <a:pt x="29" y="264"/>
                  <a:pt x="29" y="264"/>
                </a:cubicBezTo>
                <a:cubicBezTo>
                  <a:pt x="29" y="264"/>
                  <a:pt x="30" y="265"/>
                  <a:pt x="31" y="267"/>
                </a:cubicBezTo>
                <a:cubicBezTo>
                  <a:pt x="32" y="268"/>
                  <a:pt x="33" y="270"/>
                  <a:pt x="34" y="271"/>
                </a:cubicBezTo>
                <a:cubicBezTo>
                  <a:pt x="35" y="272"/>
                  <a:pt x="36" y="273"/>
                  <a:pt x="36" y="274"/>
                </a:cubicBezTo>
                <a:cubicBezTo>
                  <a:pt x="37" y="275"/>
                  <a:pt x="38" y="276"/>
                  <a:pt x="38" y="276"/>
                </a:cubicBezTo>
                <a:cubicBezTo>
                  <a:pt x="39" y="277"/>
                  <a:pt x="40" y="278"/>
                  <a:pt x="40" y="278"/>
                </a:cubicBezTo>
                <a:cubicBezTo>
                  <a:pt x="40" y="278"/>
                  <a:pt x="41" y="278"/>
                  <a:pt x="42" y="277"/>
                </a:cubicBezTo>
                <a:cubicBezTo>
                  <a:pt x="43" y="277"/>
                  <a:pt x="45" y="276"/>
                  <a:pt x="47" y="275"/>
                </a:cubicBezTo>
                <a:cubicBezTo>
                  <a:pt x="51" y="274"/>
                  <a:pt x="57" y="271"/>
                  <a:pt x="62" y="268"/>
                </a:cubicBezTo>
                <a:cubicBezTo>
                  <a:pt x="64" y="267"/>
                  <a:pt x="67" y="266"/>
                  <a:pt x="69" y="265"/>
                </a:cubicBezTo>
                <a:cubicBezTo>
                  <a:pt x="70" y="266"/>
                  <a:pt x="71" y="267"/>
                  <a:pt x="72" y="268"/>
                </a:cubicBezTo>
                <a:cubicBezTo>
                  <a:pt x="74" y="270"/>
                  <a:pt x="76" y="272"/>
                  <a:pt x="77" y="273"/>
                </a:cubicBezTo>
                <a:cubicBezTo>
                  <a:pt x="78" y="273"/>
                  <a:pt x="79" y="274"/>
                  <a:pt x="79" y="274"/>
                </a:cubicBezTo>
                <a:cubicBezTo>
                  <a:pt x="79" y="274"/>
                  <a:pt x="79" y="274"/>
                  <a:pt x="79" y="274"/>
                </a:cubicBezTo>
                <a:cubicBezTo>
                  <a:pt x="79" y="274"/>
                  <a:pt x="80" y="275"/>
                  <a:pt x="82" y="276"/>
                </a:cubicBezTo>
                <a:cubicBezTo>
                  <a:pt x="83" y="277"/>
                  <a:pt x="85" y="278"/>
                  <a:pt x="87" y="280"/>
                </a:cubicBezTo>
                <a:cubicBezTo>
                  <a:pt x="88" y="281"/>
                  <a:pt x="90" y="282"/>
                  <a:pt x="91" y="283"/>
                </a:cubicBezTo>
                <a:cubicBezTo>
                  <a:pt x="90" y="285"/>
                  <a:pt x="90" y="288"/>
                  <a:pt x="89" y="290"/>
                </a:cubicBezTo>
                <a:cubicBezTo>
                  <a:pt x="88" y="293"/>
                  <a:pt x="88" y="296"/>
                  <a:pt x="87" y="299"/>
                </a:cubicBezTo>
                <a:cubicBezTo>
                  <a:pt x="87" y="301"/>
                  <a:pt x="86" y="304"/>
                  <a:pt x="86" y="306"/>
                </a:cubicBezTo>
                <a:cubicBezTo>
                  <a:pt x="85" y="311"/>
                  <a:pt x="84" y="314"/>
                  <a:pt x="84" y="314"/>
                </a:cubicBezTo>
                <a:cubicBezTo>
                  <a:pt x="84" y="314"/>
                  <a:pt x="85" y="314"/>
                  <a:pt x="85" y="314"/>
                </a:cubicBezTo>
                <a:cubicBezTo>
                  <a:pt x="86" y="314"/>
                  <a:pt x="86" y="315"/>
                  <a:pt x="87" y="315"/>
                </a:cubicBezTo>
                <a:cubicBezTo>
                  <a:pt x="88" y="316"/>
                  <a:pt x="90" y="317"/>
                  <a:pt x="92" y="318"/>
                </a:cubicBezTo>
                <a:cubicBezTo>
                  <a:pt x="94" y="319"/>
                  <a:pt x="96" y="320"/>
                  <a:pt x="98" y="320"/>
                </a:cubicBezTo>
                <a:cubicBezTo>
                  <a:pt x="99" y="321"/>
                  <a:pt x="99" y="321"/>
                  <a:pt x="100" y="321"/>
                </a:cubicBezTo>
                <a:cubicBezTo>
                  <a:pt x="100" y="321"/>
                  <a:pt x="101" y="321"/>
                  <a:pt x="101" y="321"/>
                </a:cubicBezTo>
                <a:cubicBezTo>
                  <a:pt x="101" y="321"/>
                  <a:pt x="103" y="319"/>
                  <a:pt x="106" y="316"/>
                </a:cubicBezTo>
                <a:cubicBezTo>
                  <a:pt x="107" y="314"/>
                  <a:pt x="109" y="312"/>
                  <a:pt x="111" y="310"/>
                </a:cubicBezTo>
                <a:cubicBezTo>
                  <a:pt x="112" y="308"/>
                  <a:pt x="114" y="306"/>
                  <a:pt x="116" y="303"/>
                </a:cubicBezTo>
                <a:cubicBezTo>
                  <a:pt x="118" y="301"/>
                  <a:pt x="119" y="299"/>
                  <a:pt x="121" y="297"/>
                </a:cubicBezTo>
                <a:cubicBezTo>
                  <a:pt x="122" y="298"/>
                  <a:pt x="124" y="298"/>
                  <a:pt x="125" y="298"/>
                </a:cubicBezTo>
                <a:cubicBezTo>
                  <a:pt x="126" y="299"/>
                  <a:pt x="128" y="299"/>
                  <a:pt x="129" y="300"/>
                </a:cubicBezTo>
                <a:cubicBezTo>
                  <a:pt x="129" y="300"/>
                  <a:pt x="130" y="300"/>
                  <a:pt x="130" y="300"/>
                </a:cubicBezTo>
                <a:cubicBezTo>
                  <a:pt x="131" y="300"/>
                  <a:pt x="131" y="300"/>
                  <a:pt x="132" y="300"/>
                </a:cubicBezTo>
                <a:cubicBezTo>
                  <a:pt x="133" y="301"/>
                  <a:pt x="134" y="301"/>
                  <a:pt x="134" y="301"/>
                </a:cubicBezTo>
                <a:cubicBezTo>
                  <a:pt x="134" y="301"/>
                  <a:pt x="135" y="301"/>
                  <a:pt x="137" y="302"/>
                </a:cubicBezTo>
                <a:cubicBezTo>
                  <a:pt x="139" y="302"/>
                  <a:pt x="141" y="302"/>
                  <a:pt x="144" y="303"/>
                </a:cubicBezTo>
                <a:cubicBezTo>
                  <a:pt x="145" y="303"/>
                  <a:pt x="147" y="303"/>
                  <a:pt x="148" y="303"/>
                </a:cubicBezTo>
                <a:cubicBezTo>
                  <a:pt x="149" y="306"/>
                  <a:pt x="149" y="308"/>
                  <a:pt x="150" y="311"/>
                </a:cubicBezTo>
                <a:cubicBezTo>
                  <a:pt x="151" y="317"/>
                  <a:pt x="153" y="322"/>
                  <a:pt x="154" y="327"/>
                </a:cubicBezTo>
                <a:cubicBezTo>
                  <a:pt x="155" y="331"/>
                  <a:pt x="156" y="334"/>
                  <a:pt x="156" y="334"/>
                </a:cubicBezTo>
                <a:cubicBezTo>
                  <a:pt x="156" y="334"/>
                  <a:pt x="156" y="334"/>
                  <a:pt x="157" y="334"/>
                </a:cubicBezTo>
                <a:cubicBezTo>
                  <a:pt x="157" y="334"/>
                  <a:pt x="158" y="334"/>
                  <a:pt x="159" y="334"/>
                </a:cubicBezTo>
                <a:cubicBezTo>
                  <a:pt x="160" y="334"/>
                  <a:pt x="163" y="334"/>
                  <a:pt x="165" y="334"/>
                </a:cubicBezTo>
                <a:cubicBezTo>
                  <a:pt x="167" y="334"/>
                  <a:pt x="169" y="334"/>
                  <a:pt x="171" y="334"/>
                </a:cubicBezTo>
                <a:cubicBezTo>
                  <a:pt x="172" y="334"/>
                  <a:pt x="173" y="334"/>
                  <a:pt x="173" y="334"/>
                </a:cubicBezTo>
                <a:cubicBezTo>
                  <a:pt x="174" y="334"/>
                  <a:pt x="174" y="334"/>
                  <a:pt x="174" y="334"/>
                </a:cubicBezTo>
                <a:cubicBezTo>
                  <a:pt x="174" y="334"/>
                  <a:pt x="175" y="331"/>
                  <a:pt x="176" y="327"/>
                </a:cubicBezTo>
                <a:cubicBezTo>
                  <a:pt x="177" y="322"/>
                  <a:pt x="179" y="317"/>
                  <a:pt x="180" y="311"/>
                </a:cubicBezTo>
                <a:cubicBezTo>
                  <a:pt x="181" y="308"/>
                  <a:pt x="181" y="306"/>
                  <a:pt x="181" y="303"/>
                </a:cubicBezTo>
                <a:cubicBezTo>
                  <a:pt x="183" y="303"/>
                  <a:pt x="185" y="303"/>
                  <a:pt x="186" y="303"/>
                </a:cubicBezTo>
                <a:cubicBezTo>
                  <a:pt x="189" y="302"/>
                  <a:pt x="191" y="302"/>
                  <a:pt x="193" y="302"/>
                </a:cubicBezTo>
                <a:cubicBezTo>
                  <a:pt x="194" y="301"/>
                  <a:pt x="195" y="301"/>
                  <a:pt x="195" y="301"/>
                </a:cubicBezTo>
                <a:cubicBezTo>
                  <a:pt x="195" y="301"/>
                  <a:pt x="196" y="301"/>
                  <a:pt x="198" y="300"/>
                </a:cubicBezTo>
                <a:cubicBezTo>
                  <a:pt x="198" y="300"/>
                  <a:pt x="199" y="300"/>
                  <a:pt x="199" y="300"/>
                </a:cubicBezTo>
                <a:cubicBezTo>
                  <a:pt x="200" y="300"/>
                  <a:pt x="200" y="300"/>
                  <a:pt x="201" y="300"/>
                </a:cubicBezTo>
                <a:cubicBezTo>
                  <a:pt x="202" y="299"/>
                  <a:pt x="203" y="299"/>
                  <a:pt x="205" y="298"/>
                </a:cubicBezTo>
                <a:cubicBezTo>
                  <a:pt x="206" y="298"/>
                  <a:pt x="208" y="298"/>
                  <a:pt x="209" y="297"/>
                </a:cubicBezTo>
                <a:cubicBezTo>
                  <a:pt x="211" y="299"/>
                  <a:pt x="212" y="301"/>
                  <a:pt x="214" y="303"/>
                </a:cubicBezTo>
                <a:cubicBezTo>
                  <a:pt x="215" y="306"/>
                  <a:pt x="217" y="308"/>
                  <a:pt x="219" y="310"/>
                </a:cubicBezTo>
                <a:cubicBezTo>
                  <a:pt x="221" y="312"/>
                  <a:pt x="223" y="314"/>
                  <a:pt x="224" y="316"/>
                </a:cubicBezTo>
                <a:cubicBezTo>
                  <a:pt x="227" y="319"/>
                  <a:pt x="229" y="321"/>
                  <a:pt x="229" y="321"/>
                </a:cubicBezTo>
                <a:cubicBezTo>
                  <a:pt x="229" y="321"/>
                  <a:pt x="230" y="321"/>
                  <a:pt x="230" y="321"/>
                </a:cubicBezTo>
                <a:cubicBezTo>
                  <a:pt x="230" y="321"/>
                  <a:pt x="231" y="321"/>
                  <a:pt x="232" y="320"/>
                </a:cubicBezTo>
                <a:cubicBezTo>
                  <a:pt x="233" y="320"/>
                  <a:pt x="235" y="319"/>
                  <a:pt x="237" y="318"/>
                </a:cubicBezTo>
                <a:cubicBezTo>
                  <a:pt x="239" y="317"/>
                  <a:pt x="241" y="316"/>
                  <a:pt x="243" y="315"/>
                </a:cubicBezTo>
                <a:cubicBezTo>
                  <a:pt x="244" y="315"/>
                  <a:pt x="244" y="314"/>
                  <a:pt x="245" y="314"/>
                </a:cubicBezTo>
                <a:cubicBezTo>
                  <a:pt x="245" y="314"/>
                  <a:pt x="245" y="314"/>
                  <a:pt x="245" y="314"/>
                </a:cubicBezTo>
                <a:cubicBezTo>
                  <a:pt x="245" y="314"/>
                  <a:pt x="245" y="311"/>
                  <a:pt x="244" y="306"/>
                </a:cubicBezTo>
                <a:cubicBezTo>
                  <a:pt x="244" y="304"/>
                  <a:pt x="243" y="301"/>
                  <a:pt x="243" y="299"/>
                </a:cubicBezTo>
                <a:cubicBezTo>
                  <a:pt x="242" y="296"/>
                  <a:pt x="242" y="293"/>
                  <a:pt x="241" y="290"/>
                </a:cubicBezTo>
                <a:cubicBezTo>
                  <a:pt x="240" y="288"/>
                  <a:pt x="240" y="285"/>
                  <a:pt x="239" y="283"/>
                </a:cubicBezTo>
                <a:cubicBezTo>
                  <a:pt x="240" y="282"/>
                  <a:pt x="242" y="281"/>
                  <a:pt x="243" y="280"/>
                </a:cubicBezTo>
                <a:cubicBezTo>
                  <a:pt x="245" y="278"/>
                  <a:pt x="247" y="277"/>
                  <a:pt x="248" y="276"/>
                </a:cubicBezTo>
                <a:cubicBezTo>
                  <a:pt x="250" y="275"/>
                  <a:pt x="250" y="274"/>
                  <a:pt x="250" y="274"/>
                </a:cubicBezTo>
                <a:cubicBezTo>
                  <a:pt x="250" y="274"/>
                  <a:pt x="251" y="274"/>
                  <a:pt x="251" y="274"/>
                </a:cubicBezTo>
                <a:cubicBezTo>
                  <a:pt x="251" y="274"/>
                  <a:pt x="252" y="273"/>
                  <a:pt x="252" y="273"/>
                </a:cubicBezTo>
                <a:cubicBezTo>
                  <a:pt x="254" y="272"/>
                  <a:pt x="256" y="270"/>
                  <a:pt x="258" y="268"/>
                </a:cubicBezTo>
                <a:cubicBezTo>
                  <a:pt x="259" y="267"/>
                  <a:pt x="260" y="266"/>
                  <a:pt x="261" y="265"/>
                </a:cubicBezTo>
                <a:cubicBezTo>
                  <a:pt x="263" y="266"/>
                  <a:pt x="265" y="267"/>
                  <a:pt x="268" y="268"/>
                </a:cubicBezTo>
                <a:cubicBezTo>
                  <a:pt x="273" y="271"/>
                  <a:pt x="279" y="274"/>
                  <a:pt x="283" y="275"/>
                </a:cubicBezTo>
                <a:cubicBezTo>
                  <a:pt x="285" y="276"/>
                  <a:pt x="287" y="277"/>
                  <a:pt x="288" y="277"/>
                </a:cubicBezTo>
                <a:cubicBezTo>
                  <a:pt x="289" y="278"/>
                  <a:pt x="290" y="278"/>
                  <a:pt x="290" y="278"/>
                </a:cubicBezTo>
                <a:cubicBezTo>
                  <a:pt x="290" y="278"/>
                  <a:pt x="291" y="277"/>
                  <a:pt x="292" y="276"/>
                </a:cubicBezTo>
                <a:cubicBezTo>
                  <a:pt x="292" y="276"/>
                  <a:pt x="293" y="275"/>
                  <a:pt x="294" y="274"/>
                </a:cubicBezTo>
                <a:cubicBezTo>
                  <a:pt x="294" y="273"/>
                  <a:pt x="295" y="272"/>
                  <a:pt x="296" y="271"/>
                </a:cubicBezTo>
                <a:cubicBezTo>
                  <a:pt x="297" y="270"/>
                  <a:pt x="298" y="268"/>
                  <a:pt x="299" y="267"/>
                </a:cubicBezTo>
                <a:cubicBezTo>
                  <a:pt x="300" y="265"/>
                  <a:pt x="301" y="264"/>
                  <a:pt x="301" y="264"/>
                </a:cubicBezTo>
                <a:cubicBezTo>
                  <a:pt x="301" y="264"/>
                  <a:pt x="299" y="262"/>
                  <a:pt x="297" y="258"/>
                </a:cubicBezTo>
                <a:cubicBezTo>
                  <a:pt x="294" y="254"/>
                  <a:pt x="290" y="250"/>
                  <a:pt x="287" y="245"/>
                </a:cubicBezTo>
                <a:cubicBezTo>
                  <a:pt x="285" y="243"/>
                  <a:pt x="283" y="241"/>
                  <a:pt x="282" y="239"/>
                </a:cubicBezTo>
                <a:cubicBezTo>
                  <a:pt x="282" y="239"/>
                  <a:pt x="282" y="238"/>
                  <a:pt x="283" y="237"/>
                </a:cubicBezTo>
                <a:cubicBezTo>
                  <a:pt x="283" y="237"/>
                  <a:pt x="284" y="236"/>
                  <a:pt x="284" y="235"/>
                </a:cubicBezTo>
                <a:cubicBezTo>
                  <a:pt x="285" y="233"/>
                  <a:pt x="287" y="231"/>
                  <a:pt x="287" y="229"/>
                </a:cubicBezTo>
                <a:cubicBezTo>
                  <a:pt x="288" y="228"/>
                  <a:pt x="288" y="227"/>
                  <a:pt x="288" y="227"/>
                </a:cubicBezTo>
                <a:cubicBezTo>
                  <a:pt x="288" y="227"/>
                  <a:pt x="289" y="226"/>
                  <a:pt x="290" y="224"/>
                </a:cubicBezTo>
                <a:cubicBezTo>
                  <a:pt x="290" y="223"/>
                  <a:pt x="291" y="221"/>
                  <a:pt x="292" y="218"/>
                </a:cubicBezTo>
                <a:cubicBezTo>
                  <a:pt x="293" y="217"/>
                  <a:pt x="293" y="215"/>
                  <a:pt x="294" y="214"/>
                </a:cubicBezTo>
                <a:cubicBezTo>
                  <a:pt x="296" y="214"/>
                  <a:pt x="299" y="214"/>
                  <a:pt x="301" y="214"/>
                </a:cubicBezTo>
                <a:cubicBezTo>
                  <a:pt x="304" y="214"/>
                  <a:pt x="308" y="214"/>
                  <a:pt x="310" y="214"/>
                </a:cubicBezTo>
                <a:cubicBezTo>
                  <a:pt x="312" y="214"/>
                  <a:pt x="313" y="214"/>
                  <a:pt x="314" y="214"/>
                </a:cubicBezTo>
                <a:cubicBezTo>
                  <a:pt x="316" y="214"/>
                  <a:pt x="317" y="214"/>
                  <a:pt x="318" y="214"/>
                </a:cubicBezTo>
                <a:cubicBezTo>
                  <a:pt x="323" y="213"/>
                  <a:pt x="326" y="213"/>
                  <a:pt x="326" y="213"/>
                </a:cubicBezTo>
                <a:cubicBezTo>
                  <a:pt x="326" y="213"/>
                  <a:pt x="326" y="212"/>
                  <a:pt x="326" y="210"/>
                </a:cubicBezTo>
                <a:cubicBezTo>
                  <a:pt x="327" y="210"/>
                  <a:pt x="327" y="210"/>
                  <a:pt x="327" y="209"/>
                </a:cubicBezTo>
                <a:cubicBezTo>
                  <a:pt x="327" y="209"/>
                  <a:pt x="327" y="208"/>
                  <a:pt x="327" y="208"/>
                </a:cubicBezTo>
                <a:cubicBezTo>
                  <a:pt x="327" y="207"/>
                  <a:pt x="328" y="205"/>
                  <a:pt x="328" y="204"/>
                </a:cubicBezTo>
                <a:cubicBezTo>
                  <a:pt x="328" y="203"/>
                  <a:pt x="328" y="202"/>
                  <a:pt x="329" y="201"/>
                </a:cubicBezTo>
                <a:cubicBezTo>
                  <a:pt x="329" y="200"/>
                  <a:pt x="329" y="199"/>
                  <a:pt x="329" y="198"/>
                </a:cubicBezTo>
                <a:cubicBezTo>
                  <a:pt x="329" y="197"/>
                  <a:pt x="330" y="196"/>
                  <a:pt x="330" y="196"/>
                </a:cubicBezTo>
                <a:cubicBezTo>
                  <a:pt x="330" y="196"/>
                  <a:pt x="327" y="194"/>
                  <a:pt x="323" y="192"/>
                </a:cubicBezTo>
                <a:cubicBezTo>
                  <a:pt x="319" y="190"/>
                  <a:pt x="314" y="187"/>
                  <a:pt x="308" y="184"/>
                </a:cubicBezTo>
                <a:close/>
                <a:moveTo>
                  <a:pt x="165" y="268"/>
                </a:moveTo>
                <a:cubicBezTo>
                  <a:pt x="109" y="268"/>
                  <a:pt x="64" y="223"/>
                  <a:pt x="64" y="167"/>
                </a:cubicBezTo>
                <a:cubicBezTo>
                  <a:pt x="64" y="112"/>
                  <a:pt x="109" y="66"/>
                  <a:pt x="165" y="66"/>
                </a:cubicBezTo>
                <a:cubicBezTo>
                  <a:pt x="221" y="66"/>
                  <a:pt x="266" y="112"/>
                  <a:pt x="266" y="167"/>
                </a:cubicBezTo>
                <a:cubicBezTo>
                  <a:pt x="266" y="223"/>
                  <a:pt x="221" y="268"/>
                  <a:pt x="165" y="26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8100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01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任意多边形: 形状 8"/>
          <p:cNvSpPr/>
          <p:nvPr/>
        </p:nvSpPr>
        <p:spPr bwMode="auto">
          <a:xfrm>
            <a:off x="6677819" y="1782762"/>
            <a:ext cx="1327151" cy="357188"/>
          </a:xfrm>
          <a:custGeom>
            <a:avLst/>
            <a:gdLst>
              <a:gd name="T0" fmla="*/ 0 w 836"/>
              <a:gd name="T1" fmla="*/ 225 h 225"/>
              <a:gd name="T2" fmla="*/ 228 w 836"/>
              <a:gd name="T3" fmla="*/ 0 h 225"/>
              <a:gd name="T4" fmla="*/ 836 w 836"/>
              <a:gd name="T5" fmla="*/ 0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36" h="225">
                <a:moveTo>
                  <a:pt x="0" y="225"/>
                </a:moveTo>
                <a:lnTo>
                  <a:pt x="228" y="0"/>
                </a:lnTo>
                <a:lnTo>
                  <a:pt x="836" y="0"/>
                </a:ln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normAutofit fontScale="82500"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任意多边形: 形状 9"/>
          <p:cNvSpPr/>
          <p:nvPr/>
        </p:nvSpPr>
        <p:spPr bwMode="auto">
          <a:xfrm>
            <a:off x="7293769" y="3398838"/>
            <a:ext cx="1173163" cy="420688"/>
          </a:xfrm>
          <a:custGeom>
            <a:avLst/>
            <a:gdLst>
              <a:gd name="T0" fmla="*/ 0 w 739"/>
              <a:gd name="T1" fmla="*/ 265 h 265"/>
              <a:gd name="T2" fmla="*/ 268 w 739"/>
              <a:gd name="T3" fmla="*/ 0 h 265"/>
              <a:gd name="T4" fmla="*/ 739 w 739"/>
              <a:gd name="T5" fmla="*/ 0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39" h="265">
                <a:moveTo>
                  <a:pt x="0" y="265"/>
                </a:moveTo>
                <a:lnTo>
                  <a:pt x="268" y="0"/>
                </a:lnTo>
                <a:lnTo>
                  <a:pt x="739" y="0"/>
                </a:ln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任意多边形: 形状 10"/>
          <p:cNvSpPr/>
          <p:nvPr/>
        </p:nvSpPr>
        <p:spPr bwMode="auto">
          <a:xfrm>
            <a:off x="3725069" y="4665664"/>
            <a:ext cx="1281112" cy="384175"/>
          </a:xfrm>
          <a:custGeom>
            <a:avLst/>
            <a:gdLst>
              <a:gd name="T0" fmla="*/ 807 w 807"/>
              <a:gd name="T1" fmla="*/ 0 h 242"/>
              <a:gd name="T2" fmla="*/ 566 w 807"/>
              <a:gd name="T3" fmla="*/ 242 h 242"/>
              <a:gd name="T4" fmla="*/ 0 w 807"/>
              <a:gd name="T5" fmla="*/ 242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07" h="242">
                <a:moveTo>
                  <a:pt x="807" y="0"/>
                </a:moveTo>
                <a:lnTo>
                  <a:pt x="566" y="242"/>
                </a:lnTo>
                <a:lnTo>
                  <a:pt x="0" y="242"/>
                </a:ln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8" name="任意多边形: 形状 27"/>
          <p:cNvSpPr/>
          <p:nvPr/>
        </p:nvSpPr>
        <p:spPr bwMode="auto">
          <a:xfrm>
            <a:off x="8317121" y="1633508"/>
            <a:ext cx="299621" cy="298506"/>
          </a:xfrm>
          <a:custGeom>
            <a:avLst/>
            <a:gdLst>
              <a:gd name="connsiteX0" fmla="*/ 0 w 607639"/>
              <a:gd name="connsiteY0" fmla="*/ 547235 h 605381"/>
              <a:gd name="connsiteX1" fmla="*/ 23853 w 607639"/>
              <a:gd name="connsiteY1" fmla="*/ 547235 h 605381"/>
              <a:gd name="connsiteX2" fmla="*/ 36136 w 607639"/>
              <a:gd name="connsiteY2" fmla="*/ 547235 h 605381"/>
              <a:gd name="connsiteX3" fmla="*/ 190916 w 607639"/>
              <a:gd name="connsiteY3" fmla="*/ 547235 h 605381"/>
              <a:gd name="connsiteX4" fmla="*/ 212990 w 607639"/>
              <a:gd name="connsiteY4" fmla="*/ 547235 h 605381"/>
              <a:gd name="connsiteX5" fmla="*/ 394560 w 607639"/>
              <a:gd name="connsiteY5" fmla="*/ 547235 h 605381"/>
              <a:gd name="connsiteX6" fmla="*/ 416634 w 607639"/>
              <a:gd name="connsiteY6" fmla="*/ 547235 h 605381"/>
              <a:gd name="connsiteX7" fmla="*/ 571503 w 607639"/>
              <a:gd name="connsiteY7" fmla="*/ 547235 h 605381"/>
              <a:gd name="connsiteX8" fmla="*/ 583786 w 607639"/>
              <a:gd name="connsiteY8" fmla="*/ 547235 h 605381"/>
              <a:gd name="connsiteX9" fmla="*/ 607639 w 607639"/>
              <a:gd name="connsiteY9" fmla="*/ 547235 h 605381"/>
              <a:gd name="connsiteX10" fmla="*/ 607639 w 607639"/>
              <a:gd name="connsiteY10" fmla="*/ 605381 h 605381"/>
              <a:gd name="connsiteX11" fmla="*/ 0 w 607639"/>
              <a:gd name="connsiteY11" fmla="*/ 605381 h 605381"/>
              <a:gd name="connsiteX12" fmla="*/ 321849 w 607639"/>
              <a:gd name="connsiteY12" fmla="*/ 269278 h 605381"/>
              <a:gd name="connsiteX13" fmla="*/ 394531 w 607639"/>
              <a:gd name="connsiteY13" fmla="*/ 269278 h 605381"/>
              <a:gd name="connsiteX14" fmla="*/ 394531 w 607639"/>
              <a:gd name="connsiteY14" fmla="*/ 511247 h 605381"/>
              <a:gd name="connsiteX15" fmla="*/ 358501 w 607639"/>
              <a:gd name="connsiteY15" fmla="*/ 511247 h 605381"/>
              <a:gd name="connsiteX16" fmla="*/ 321849 w 607639"/>
              <a:gd name="connsiteY16" fmla="*/ 511247 h 605381"/>
              <a:gd name="connsiteX17" fmla="*/ 212966 w 607639"/>
              <a:gd name="connsiteY17" fmla="*/ 269278 h 605381"/>
              <a:gd name="connsiteX18" fmla="*/ 285790 w 607639"/>
              <a:gd name="connsiteY18" fmla="*/ 269278 h 605381"/>
              <a:gd name="connsiteX19" fmla="*/ 285790 w 607639"/>
              <a:gd name="connsiteY19" fmla="*/ 511247 h 605381"/>
              <a:gd name="connsiteX20" fmla="*/ 249111 w 607639"/>
              <a:gd name="connsiteY20" fmla="*/ 511247 h 605381"/>
              <a:gd name="connsiteX21" fmla="*/ 212966 w 607639"/>
              <a:gd name="connsiteY21" fmla="*/ 511247 h 605381"/>
              <a:gd name="connsiteX22" fmla="*/ 446972 w 607639"/>
              <a:gd name="connsiteY22" fmla="*/ 242181 h 605381"/>
              <a:gd name="connsiteX23" fmla="*/ 553523 w 607639"/>
              <a:gd name="connsiteY23" fmla="*/ 242181 h 605381"/>
              <a:gd name="connsiteX24" fmla="*/ 553523 w 607639"/>
              <a:gd name="connsiteY24" fmla="*/ 453133 h 605381"/>
              <a:gd name="connsiteX25" fmla="*/ 583788 w 607639"/>
              <a:gd name="connsiteY25" fmla="*/ 453133 h 605381"/>
              <a:gd name="connsiteX26" fmla="*/ 583788 w 607639"/>
              <a:gd name="connsiteY26" fmla="*/ 511247 h 605381"/>
              <a:gd name="connsiteX27" fmla="*/ 547648 w 607639"/>
              <a:gd name="connsiteY27" fmla="*/ 511247 h 605381"/>
              <a:gd name="connsiteX28" fmla="*/ 452758 w 607639"/>
              <a:gd name="connsiteY28" fmla="*/ 511247 h 605381"/>
              <a:gd name="connsiteX29" fmla="*/ 416618 w 607639"/>
              <a:gd name="connsiteY29" fmla="*/ 511247 h 605381"/>
              <a:gd name="connsiteX30" fmla="*/ 416618 w 607639"/>
              <a:gd name="connsiteY30" fmla="*/ 453133 h 605381"/>
              <a:gd name="connsiteX31" fmla="*/ 446972 w 607639"/>
              <a:gd name="connsiteY31" fmla="*/ 453133 h 605381"/>
              <a:gd name="connsiteX32" fmla="*/ 54106 w 607639"/>
              <a:gd name="connsiteY32" fmla="*/ 242181 h 605381"/>
              <a:gd name="connsiteX33" fmla="*/ 160624 w 607639"/>
              <a:gd name="connsiteY33" fmla="*/ 242181 h 605381"/>
              <a:gd name="connsiteX34" fmla="*/ 160624 w 607639"/>
              <a:gd name="connsiteY34" fmla="*/ 453133 h 605381"/>
              <a:gd name="connsiteX35" fmla="*/ 190879 w 607639"/>
              <a:gd name="connsiteY35" fmla="*/ 453133 h 605381"/>
              <a:gd name="connsiteX36" fmla="*/ 190879 w 607639"/>
              <a:gd name="connsiteY36" fmla="*/ 511247 h 605381"/>
              <a:gd name="connsiteX37" fmla="*/ 154839 w 607639"/>
              <a:gd name="connsiteY37" fmla="*/ 511247 h 605381"/>
              <a:gd name="connsiteX38" fmla="*/ 59891 w 607639"/>
              <a:gd name="connsiteY38" fmla="*/ 511247 h 605381"/>
              <a:gd name="connsiteX39" fmla="*/ 23851 w 607639"/>
              <a:gd name="connsiteY39" fmla="*/ 511247 h 605381"/>
              <a:gd name="connsiteX40" fmla="*/ 23851 w 607639"/>
              <a:gd name="connsiteY40" fmla="*/ 453133 h 605381"/>
              <a:gd name="connsiteX41" fmla="*/ 54106 w 607639"/>
              <a:gd name="connsiteY41" fmla="*/ 453133 h 605381"/>
              <a:gd name="connsiteX42" fmla="*/ 303820 w 607639"/>
              <a:gd name="connsiteY42" fmla="*/ 98933 h 605381"/>
              <a:gd name="connsiteX43" fmla="*/ 323120 w 607639"/>
              <a:gd name="connsiteY43" fmla="*/ 118162 h 605381"/>
              <a:gd name="connsiteX44" fmla="*/ 303820 w 607639"/>
              <a:gd name="connsiteY44" fmla="*/ 137391 h 605381"/>
              <a:gd name="connsiteX45" fmla="*/ 284520 w 607639"/>
              <a:gd name="connsiteY45" fmla="*/ 118162 h 605381"/>
              <a:gd name="connsiteX46" fmla="*/ 303820 w 607639"/>
              <a:gd name="connsiteY46" fmla="*/ 98933 h 605381"/>
              <a:gd name="connsiteX47" fmla="*/ 303749 w 607639"/>
              <a:gd name="connsiteY47" fmla="*/ 62835 h 605381"/>
              <a:gd name="connsiteX48" fmla="*/ 248388 w 607639"/>
              <a:gd name="connsiteY48" fmla="*/ 118116 h 605381"/>
              <a:gd name="connsiteX49" fmla="*/ 303749 w 607639"/>
              <a:gd name="connsiteY49" fmla="*/ 173397 h 605381"/>
              <a:gd name="connsiteX50" fmla="*/ 359111 w 607639"/>
              <a:gd name="connsiteY50" fmla="*/ 118116 h 605381"/>
              <a:gd name="connsiteX51" fmla="*/ 303749 w 607639"/>
              <a:gd name="connsiteY51" fmla="*/ 62835 h 605381"/>
              <a:gd name="connsiteX52" fmla="*/ 303749 w 607639"/>
              <a:gd name="connsiteY52" fmla="*/ 0 h 605381"/>
              <a:gd name="connsiteX53" fmla="*/ 586964 w 607639"/>
              <a:gd name="connsiteY53" fmla="*/ 141490 h 605381"/>
              <a:gd name="connsiteX54" fmla="*/ 586964 w 607639"/>
              <a:gd name="connsiteY54" fmla="*/ 206192 h 605381"/>
              <a:gd name="connsiteX55" fmla="*/ 20535 w 607639"/>
              <a:gd name="connsiteY55" fmla="*/ 206192 h 605381"/>
              <a:gd name="connsiteX56" fmla="*/ 20535 w 607639"/>
              <a:gd name="connsiteY56" fmla="*/ 141490 h 605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07639" h="605381">
                <a:moveTo>
                  <a:pt x="0" y="547235"/>
                </a:moveTo>
                <a:lnTo>
                  <a:pt x="23853" y="547235"/>
                </a:lnTo>
                <a:lnTo>
                  <a:pt x="36136" y="547235"/>
                </a:lnTo>
                <a:lnTo>
                  <a:pt x="190916" y="547235"/>
                </a:lnTo>
                <a:lnTo>
                  <a:pt x="212990" y="547235"/>
                </a:lnTo>
                <a:lnTo>
                  <a:pt x="394560" y="547235"/>
                </a:lnTo>
                <a:lnTo>
                  <a:pt x="416634" y="547235"/>
                </a:lnTo>
                <a:lnTo>
                  <a:pt x="571503" y="547235"/>
                </a:lnTo>
                <a:lnTo>
                  <a:pt x="583786" y="547235"/>
                </a:lnTo>
                <a:lnTo>
                  <a:pt x="607639" y="547235"/>
                </a:lnTo>
                <a:lnTo>
                  <a:pt x="607639" y="605381"/>
                </a:lnTo>
                <a:lnTo>
                  <a:pt x="0" y="605381"/>
                </a:lnTo>
                <a:close/>
                <a:moveTo>
                  <a:pt x="321849" y="269278"/>
                </a:moveTo>
                <a:lnTo>
                  <a:pt x="394531" y="269278"/>
                </a:lnTo>
                <a:lnTo>
                  <a:pt x="394531" y="511247"/>
                </a:lnTo>
                <a:lnTo>
                  <a:pt x="358501" y="511247"/>
                </a:lnTo>
                <a:lnTo>
                  <a:pt x="321849" y="511247"/>
                </a:lnTo>
                <a:close/>
                <a:moveTo>
                  <a:pt x="212966" y="269278"/>
                </a:moveTo>
                <a:lnTo>
                  <a:pt x="285790" y="269278"/>
                </a:lnTo>
                <a:lnTo>
                  <a:pt x="285790" y="511247"/>
                </a:lnTo>
                <a:lnTo>
                  <a:pt x="249111" y="511247"/>
                </a:lnTo>
                <a:lnTo>
                  <a:pt x="212966" y="511247"/>
                </a:lnTo>
                <a:close/>
                <a:moveTo>
                  <a:pt x="446972" y="242181"/>
                </a:moveTo>
                <a:lnTo>
                  <a:pt x="553523" y="242181"/>
                </a:lnTo>
                <a:lnTo>
                  <a:pt x="553523" y="453133"/>
                </a:lnTo>
                <a:lnTo>
                  <a:pt x="583788" y="453133"/>
                </a:lnTo>
                <a:lnTo>
                  <a:pt x="583788" y="511247"/>
                </a:lnTo>
                <a:lnTo>
                  <a:pt x="547648" y="511247"/>
                </a:lnTo>
                <a:lnTo>
                  <a:pt x="452758" y="511247"/>
                </a:lnTo>
                <a:lnTo>
                  <a:pt x="416618" y="511247"/>
                </a:lnTo>
                <a:lnTo>
                  <a:pt x="416618" y="453133"/>
                </a:lnTo>
                <a:lnTo>
                  <a:pt x="446972" y="453133"/>
                </a:lnTo>
                <a:close/>
                <a:moveTo>
                  <a:pt x="54106" y="242181"/>
                </a:moveTo>
                <a:lnTo>
                  <a:pt x="160624" y="242181"/>
                </a:lnTo>
                <a:lnTo>
                  <a:pt x="160624" y="453133"/>
                </a:lnTo>
                <a:lnTo>
                  <a:pt x="190879" y="453133"/>
                </a:lnTo>
                <a:lnTo>
                  <a:pt x="190879" y="511247"/>
                </a:lnTo>
                <a:lnTo>
                  <a:pt x="154839" y="511247"/>
                </a:lnTo>
                <a:lnTo>
                  <a:pt x="59891" y="511247"/>
                </a:lnTo>
                <a:lnTo>
                  <a:pt x="23851" y="511247"/>
                </a:lnTo>
                <a:lnTo>
                  <a:pt x="23851" y="453133"/>
                </a:lnTo>
                <a:lnTo>
                  <a:pt x="54106" y="453133"/>
                </a:lnTo>
                <a:close/>
                <a:moveTo>
                  <a:pt x="303820" y="98933"/>
                </a:moveTo>
                <a:cubicBezTo>
                  <a:pt x="314479" y="98933"/>
                  <a:pt x="323120" y="107542"/>
                  <a:pt x="323120" y="118162"/>
                </a:cubicBezTo>
                <a:cubicBezTo>
                  <a:pt x="323120" y="128782"/>
                  <a:pt x="314479" y="137391"/>
                  <a:pt x="303820" y="137391"/>
                </a:cubicBezTo>
                <a:cubicBezTo>
                  <a:pt x="293161" y="137391"/>
                  <a:pt x="284520" y="128782"/>
                  <a:pt x="284520" y="118162"/>
                </a:cubicBezTo>
                <a:cubicBezTo>
                  <a:pt x="284520" y="107542"/>
                  <a:pt x="293161" y="98933"/>
                  <a:pt x="303820" y="98933"/>
                </a:cubicBezTo>
                <a:close/>
                <a:moveTo>
                  <a:pt x="303749" y="62835"/>
                </a:moveTo>
                <a:cubicBezTo>
                  <a:pt x="273221" y="62835"/>
                  <a:pt x="248388" y="87631"/>
                  <a:pt x="248388" y="118116"/>
                </a:cubicBezTo>
                <a:cubicBezTo>
                  <a:pt x="248388" y="148600"/>
                  <a:pt x="273221" y="173397"/>
                  <a:pt x="303749" y="173397"/>
                </a:cubicBezTo>
                <a:cubicBezTo>
                  <a:pt x="334278" y="173397"/>
                  <a:pt x="359111" y="148600"/>
                  <a:pt x="359111" y="118116"/>
                </a:cubicBezTo>
                <a:cubicBezTo>
                  <a:pt x="359111" y="87631"/>
                  <a:pt x="334278" y="62835"/>
                  <a:pt x="303749" y="62835"/>
                </a:cubicBezTo>
                <a:close/>
                <a:moveTo>
                  <a:pt x="303749" y="0"/>
                </a:moveTo>
                <a:lnTo>
                  <a:pt x="586964" y="141490"/>
                </a:lnTo>
                <a:lnTo>
                  <a:pt x="586964" y="206192"/>
                </a:lnTo>
                <a:lnTo>
                  <a:pt x="20535" y="206192"/>
                </a:lnTo>
                <a:lnTo>
                  <a:pt x="20535" y="141490"/>
                </a:lnTo>
                <a:close/>
              </a:path>
            </a:pathLst>
          </a:cu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3249186" y="4906936"/>
            <a:ext cx="299621" cy="298506"/>
          </a:xfrm>
          <a:custGeom>
            <a:avLst/>
            <a:gdLst>
              <a:gd name="connsiteX0" fmla="*/ 0 w 607639"/>
              <a:gd name="connsiteY0" fmla="*/ 547235 h 605381"/>
              <a:gd name="connsiteX1" fmla="*/ 23853 w 607639"/>
              <a:gd name="connsiteY1" fmla="*/ 547235 h 605381"/>
              <a:gd name="connsiteX2" fmla="*/ 36136 w 607639"/>
              <a:gd name="connsiteY2" fmla="*/ 547235 h 605381"/>
              <a:gd name="connsiteX3" fmla="*/ 190916 w 607639"/>
              <a:gd name="connsiteY3" fmla="*/ 547235 h 605381"/>
              <a:gd name="connsiteX4" fmla="*/ 212990 w 607639"/>
              <a:gd name="connsiteY4" fmla="*/ 547235 h 605381"/>
              <a:gd name="connsiteX5" fmla="*/ 394560 w 607639"/>
              <a:gd name="connsiteY5" fmla="*/ 547235 h 605381"/>
              <a:gd name="connsiteX6" fmla="*/ 416634 w 607639"/>
              <a:gd name="connsiteY6" fmla="*/ 547235 h 605381"/>
              <a:gd name="connsiteX7" fmla="*/ 571503 w 607639"/>
              <a:gd name="connsiteY7" fmla="*/ 547235 h 605381"/>
              <a:gd name="connsiteX8" fmla="*/ 583786 w 607639"/>
              <a:gd name="connsiteY8" fmla="*/ 547235 h 605381"/>
              <a:gd name="connsiteX9" fmla="*/ 607639 w 607639"/>
              <a:gd name="connsiteY9" fmla="*/ 547235 h 605381"/>
              <a:gd name="connsiteX10" fmla="*/ 607639 w 607639"/>
              <a:gd name="connsiteY10" fmla="*/ 605381 h 605381"/>
              <a:gd name="connsiteX11" fmla="*/ 0 w 607639"/>
              <a:gd name="connsiteY11" fmla="*/ 605381 h 605381"/>
              <a:gd name="connsiteX12" fmla="*/ 321849 w 607639"/>
              <a:gd name="connsiteY12" fmla="*/ 269278 h 605381"/>
              <a:gd name="connsiteX13" fmla="*/ 394531 w 607639"/>
              <a:gd name="connsiteY13" fmla="*/ 269278 h 605381"/>
              <a:gd name="connsiteX14" fmla="*/ 394531 w 607639"/>
              <a:gd name="connsiteY14" fmla="*/ 511247 h 605381"/>
              <a:gd name="connsiteX15" fmla="*/ 358501 w 607639"/>
              <a:gd name="connsiteY15" fmla="*/ 511247 h 605381"/>
              <a:gd name="connsiteX16" fmla="*/ 321849 w 607639"/>
              <a:gd name="connsiteY16" fmla="*/ 511247 h 605381"/>
              <a:gd name="connsiteX17" fmla="*/ 212966 w 607639"/>
              <a:gd name="connsiteY17" fmla="*/ 269278 h 605381"/>
              <a:gd name="connsiteX18" fmla="*/ 285790 w 607639"/>
              <a:gd name="connsiteY18" fmla="*/ 269278 h 605381"/>
              <a:gd name="connsiteX19" fmla="*/ 285790 w 607639"/>
              <a:gd name="connsiteY19" fmla="*/ 511247 h 605381"/>
              <a:gd name="connsiteX20" fmla="*/ 249111 w 607639"/>
              <a:gd name="connsiteY20" fmla="*/ 511247 h 605381"/>
              <a:gd name="connsiteX21" fmla="*/ 212966 w 607639"/>
              <a:gd name="connsiteY21" fmla="*/ 511247 h 605381"/>
              <a:gd name="connsiteX22" fmla="*/ 446972 w 607639"/>
              <a:gd name="connsiteY22" fmla="*/ 242181 h 605381"/>
              <a:gd name="connsiteX23" fmla="*/ 553523 w 607639"/>
              <a:gd name="connsiteY23" fmla="*/ 242181 h 605381"/>
              <a:gd name="connsiteX24" fmla="*/ 553523 w 607639"/>
              <a:gd name="connsiteY24" fmla="*/ 453133 h 605381"/>
              <a:gd name="connsiteX25" fmla="*/ 583788 w 607639"/>
              <a:gd name="connsiteY25" fmla="*/ 453133 h 605381"/>
              <a:gd name="connsiteX26" fmla="*/ 583788 w 607639"/>
              <a:gd name="connsiteY26" fmla="*/ 511247 h 605381"/>
              <a:gd name="connsiteX27" fmla="*/ 547648 w 607639"/>
              <a:gd name="connsiteY27" fmla="*/ 511247 h 605381"/>
              <a:gd name="connsiteX28" fmla="*/ 452758 w 607639"/>
              <a:gd name="connsiteY28" fmla="*/ 511247 h 605381"/>
              <a:gd name="connsiteX29" fmla="*/ 416618 w 607639"/>
              <a:gd name="connsiteY29" fmla="*/ 511247 h 605381"/>
              <a:gd name="connsiteX30" fmla="*/ 416618 w 607639"/>
              <a:gd name="connsiteY30" fmla="*/ 453133 h 605381"/>
              <a:gd name="connsiteX31" fmla="*/ 446972 w 607639"/>
              <a:gd name="connsiteY31" fmla="*/ 453133 h 605381"/>
              <a:gd name="connsiteX32" fmla="*/ 54106 w 607639"/>
              <a:gd name="connsiteY32" fmla="*/ 242181 h 605381"/>
              <a:gd name="connsiteX33" fmla="*/ 160624 w 607639"/>
              <a:gd name="connsiteY33" fmla="*/ 242181 h 605381"/>
              <a:gd name="connsiteX34" fmla="*/ 160624 w 607639"/>
              <a:gd name="connsiteY34" fmla="*/ 453133 h 605381"/>
              <a:gd name="connsiteX35" fmla="*/ 190879 w 607639"/>
              <a:gd name="connsiteY35" fmla="*/ 453133 h 605381"/>
              <a:gd name="connsiteX36" fmla="*/ 190879 w 607639"/>
              <a:gd name="connsiteY36" fmla="*/ 511247 h 605381"/>
              <a:gd name="connsiteX37" fmla="*/ 154839 w 607639"/>
              <a:gd name="connsiteY37" fmla="*/ 511247 h 605381"/>
              <a:gd name="connsiteX38" fmla="*/ 59891 w 607639"/>
              <a:gd name="connsiteY38" fmla="*/ 511247 h 605381"/>
              <a:gd name="connsiteX39" fmla="*/ 23851 w 607639"/>
              <a:gd name="connsiteY39" fmla="*/ 511247 h 605381"/>
              <a:gd name="connsiteX40" fmla="*/ 23851 w 607639"/>
              <a:gd name="connsiteY40" fmla="*/ 453133 h 605381"/>
              <a:gd name="connsiteX41" fmla="*/ 54106 w 607639"/>
              <a:gd name="connsiteY41" fmla="*/ 453133 h 605381"/>
              <a:gd name="connsiteX42" fmla="*/ 303820 w 607639"/>
              <a:gd name="connsiteY42" fmla="*/ 98933 h 605381"/>
              <a:gd name="connsiteX43" fmla="*/ 323120 w 607639"/>
              <a:gd name="connsiteY43" fmla="*/ 118162 h 605381"/>
              <a:gd name="connsiteX44" fmla="*/ 303820 w 607639"/>
              <a:gd name="connsiteY44" fmla="*/ 137391 h 605381"/>
              <a:gd name="connsiteX45" fmla="*/ 284520 w 607639"/>
              <a:gd name="connsiteY45" fmla="*/ 118162 h 605381"/>
              <a:gd name="connsiteX46" fmla="*/ 303820 w 607639"/>
              <a:gd name="connsiteY46" fmla="*/ 98933 h 605381"/>
              <a:gd name="connsiteX47" fmla="*/ 303749 w 607639"/>
              <a:gd name="connsiteY47" fmla="*/ 62835 h 605381"/>
              <a:gd name="connsiteX48" fmla="*/ 248388 w 607639"/>
              <a:gd name="connsiteY48" fmla="*/ 118116 h 605381"/>
              <a:gd name="connsiteX49" fmla="*/ 303749 w 607639"/>
              <a:gd name="connsiteY49" fmla="*/ 173397 h 605381"/>
              <a:gd name="connsiteX50" fmla="*/ 359111 w 607639"/>
              <a:gd name="connsiteY50" fmla="*/ 118116 h 605381"/>
              <a:gd name="connsiteX51" fmla="*/ 303749 w 607639"/>
              <a:gd name="connsiteY51" fmla="*/ 62835 h 605381"/>
              <a:gd name="connsiteX52" fmla="*/ 303749 w 607639"/>
              <a:gd name="connsiteY52" fmla="*/ 0 h 605381"/>
              <a:gd name="connsiteX53" fmla="*/ 586964 w 607639"/>
              <a:gd name="connsiteY53" fmla="*/ 141490 h 605381"/>
              <a:gd name="connsiteX54" fmla="*/ 586964 w 607639"/>
              <a:gd name="connsiteY54" fmla="*/ 206192 h 605381"/>
              <a:gd name="connsiteX55" fmla="*/ 20535 w 607639"/>
              <a:gd name="connsiteY55" fmla="*/ 206192 h 605381"/>
              <a:gd name="connsiteX56" fmla="*/ 20535 w 607639"/>
              <a:gd name="connsiteY56" fmla="*/ 141490 h 605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07639" h="605381">
                <a:moveTo>
                  <a:pt x="0" y="547235"/>
                </a:moveTo>
                <a:lnTo>
                  <a:pt x="23853" y="547235"/>
                </a:lnTo>
                <a:lnTo>
                  <a:pt x="36136" y="547235"/>
                </a:lnTo>
                <a:lnTo>
                  <a:pt x="190916" y="547235"/>
                </a:lnTo>
                <a:lnTo>
                  <a:pt x="212990" y="547235"/>
                </a:lnTo>
                <a:lnTo>
                  <a:pt x="394560" y="547235"/>
                </a:lnTo>
                <a:lnTo>
                  <a:pt x="416634" y="547235"/>
                </a:lnTo>
                <a:lnTo>
                  <a:pt x="571503" y="547235"/>
                </a:lnTo>
                <a:lnTo>
                  <a:pt x="583786" y="547235"/>
                </a:lnTo>
                <a:lnTo>
                  <a:pt x="607639" y="547235"/>
                </a:lnTo>
                <a:lnTo>
                  <a:pt x="607639" y="605381"/>
                </a:lnTo>
                <a:lnTo>
                  <a:pt x="0" y="605381"/>
                </a:lnTo>
                <a:close/>
                <a:moveTo>
                  <a:pt x="321849" y="269278"/>
                </a:moveTo>
                <a:lnTo>
                  <a:pt x="394531" y="269278"/>
                </a:lnTo>
                <a:lnTo>
                  <a:pt x="394531" y="511247"/>
                </a:lnTo>
                <a:lnTo>
                  <a:pt x="358501" y="511247"/>
                </a:lnTo>
                <a:lnTo>
                  <a:pt x="321849" y="511247"/>
                </a:lnTo>
                <a:close/>
                <a:moveTo>
                  <a:pt x="212966" y="269278"/>
                </a:moveTo>
                <a:lnTo>
                  <a:pt x="285790" y="269278"/>
                </a:lnTo>
                <a:lnTo>
                  <a:pt x="285790" y="511247"/>
                </a:lnTo>
                <a:lnTo>
                  <a:pt x="249111" y="511247"/>
                </a:lnTo>
                <a:lnTo>
                  <a:pt x="212966" y="511247"/>
                </a:lnTo>
                <a:close/>
                <a:moveTo>
                  <a:pt x="446972" y="242181"/>
                </a:moveTo>
                <a:lnTo>
                  <a:pt x="553523" y="242181"/>
                </a:lnTo>
                <a:lnTo>
                  <a:pt x="553523" y="453133"/>
                </a:lnTo>
                <a:lnTo>
                  <a:pt x="583788" y="453133"/>
                </a:lnTo>
                <a:lnTo>
                  <a:pt x="583788" y="511247"/>
                </a:lnTo>
                <a:lnTo>
                  <a:pt x="547648" y="511247"/>
                </a:lnTo>
                <a:lnTo>
                  <a:pt x="452758" y="511247"/>
                </a:lnTo>
                <a:lnTo>
                  <a:pt x="416618" y="511247"/>
                </a:lnTo>
                <a:lnTo>
                  <a:pt x="416618" y="453133"/>
                </a:lnTo>
                <a:lnTo>
                  <a:pt x="446972" y="453133"/>
                </a:lnTo>
                <a:close/>
                <a:moveTo>
                  <a:pt x="54106" y="242181"/>
                </a:moveTo>
                <a:lnTo>
                  <a:pt x="160624" y="242181"/>
                </a:lnTo>
                <a:lnTo>
                  <a:pt x="160624" y="453133"/>
                </a:lnTo>
                <a:lnTo>
                  <a:pt x="190879" y="453133"/>
                </a:lnTo>
                <a:lnTo>
                  <a:pt x="190879" y="511247"/>
                </a:lnTo>
                <a:lnTo>
                  <a:pt x="154839" y="511247"/>
                </a:lnTo>
                <a:lnTo>
                  <a:pt x="59891" y="511247"/>
                </a:lnTo>
                <a:lnTo>
                  <a:pt x="23851" y="511247"/>
                </a:lnTo>
                <a:lnTo>
                  <a:pt x="23851" y="453133"/>
                </a:lnTo>
                <a:lnTo>
                  <a:pt x="54106" y="453133"/>
                </a:lnTo>
                <a:close/>
                <a:moveTo>
                  <a:pt x="303820" y="98933"/>
                </a:moveTo>
                <a:cubicBezTo>
                  <a:pt x="314479" y="98933"/>
                  <a:pt x="323120" y="107542"/>
                  <a:pt x="323120" y="118162"/>
                </a:cubicBezTo>
                <a:cubicBezTo>
                  <a:pt x="323120" y="128782"/>
                  <a:pt x="314479" y="137391"/>
                  <a:pt x="303820" y="137391"/>
                </a:cubicBezTo>
                <a:cubicBezTo>
                  <a:pt x="293161" y="137391"/>
                  <a:pt x="284520" y="128782"/>
                  <a:pt x="284520" y="118162"/>
                </a:cubicBezTo>
                <a:cubicBezTo>
                  <a:pt x="284520" y="107542"/>
                  <a:pt x="293161" y="98933"/>
                  <a:pt x="303820" y="98933"/>
                </a:cubicBezTo>
                <a:close/>
                <a:moveTo>
                  <a:pt x="303749" y="62835"/>
                </a:moveTo>
                <a:cubicBezTo>
                  <a:pt x="273221" y="62835"/>
                  <a:pt x="248388" y="87631"/>
                  <a:pt x="248388" y="118116"/>
                </a:cubicBezTo>
                <a:cubicBezTo>
                  <a:pt x="248388" y="148600"/>
                  <a:pt x="273221" y="173397"/>
                  <a:pt x="303749" y="173397"/>
                </a:cubicBezTo>
                <a:cubicBezTo>
                  <a:pt x="334278" y="173397"/>
                  <a:pt x="359111" y="148600"/>
                  <a:pt x="359111" y="118116"/>
                </a:cubicBezTo>
                <a:cubicBezTo>
                  <a:pt x="359111" y="87631"/>
                  <a:pt x="334278" y="62835"/>
                  <a:pt x="303749" y="62835"/>
                </a:cubicBezTo>
                <a:close/>
                <a:moveTo>
                  <a:pt x="303749" y="0"/>
                </a:moveTo>
                <a:lnTo>
                  <a:pt x="586964" y="141490"/>
                </a:lnTo>
                <a:lnTo>
                  <a:pt x="586964" y="206192"/>
                </a:lnTo>
                <a:lnTo>
                  <a:pt x="20535" y="206192"/>
                </a:lnTo>
                <a:lnTo>
                  <a:pt x="20535" y="141490"/>
                </a:lnTo>
                <a:close/>
              </a:path>
            </a:pathLst>
          </a:cu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3" name="椭圆 22"/>
          <p:cNvSpPr/>
          <p:nvPr/>
        </p:nvSpPr>
        <p:spPr bwMode="auto">
          <a:xfrm>
            <a:off x="8466932" y="3073402"/>
            <a:ext cx="650874" cy="650872"/>
          </a:xfrm>
          <a:prstGeom prst="ellips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" name="任意多边形: 形状 23"/>
          <p:cNvSpPr/>
          <p:nvPr/>
        </p:nvSpPr>
        <p:spPr bwMode="auto">
          <a:xfrm>
            <a:off x="8642558" y="3249584"/>
            <a:ext cx="299621" cy="298506"/>
          </a:xfrm>
          <a:custGeom>
            <a:avLst/>
            <a:gdLst>
              <a:gd name="connsiteX0" fmla="*/ 0 w 607639"/>
              <a:gd name="connsiteY0" fmla="*/ 547235 h 605381"/>
              <a:gd name="connsiteX1" fmla="*/ 23853 w 607639"/>
              <a:gd name="connsiteY1" fmla="*/ 547235 h 605381"/>
              <a:gd name="connsiteX2" fmla="*/ 36136 w 607639"/>
              <a:gd name="connsiteY2" fmla="*/ 547235 h 605381"/>
              <a:gd name="connsiteX3" fmla="*/ 190916 w 607639"/>
              <a:gd name="connsiteY3" fmla="*/ 547235 h 605381"/>
              <a:gd name="connsiteX4" fmla="*/ 212990 w 607639"/>
              <a:gd name="connsiteY4" fmla="*/ 547235 h 605381"/>
              <a:gd name="connsiteX5" fmla="*/ 394560 w 607639"/>
              <a:gd name="connsiteY5" fmla="*/ 547235 h 605381"/>
              <a:gd name="connsiteX6" fmla="*/ 416634 w 607639"/>
              <a:gd name="connsiteY6" fmla="*/ 547235 h 605381"/>
              <a:gd name="connsiteX7" fmla="*/ 571503 w 607639"/>
              <a:gd name="connsiteY7" fmla="*/ 547235 h 605381"/>
              <a:gd name="connsiteX8" fmla="*/ 583786 w 607639"/>
              <a:gd name="connsiteY8" fmla="*/ 547235 h 605381"/>
              <a:gd name="connsiteX9" fmla="*/ 607639 w 607639"/>
              <a:gd name="connsiteY9" fmla="*/ 547235 h 605381"/>
              <a:gd name="connsiteX10" fmla="*/ 607639 w 607639"/>
              <a:gd name="connsiteY10" fmla="*/ 605381 h 605381"/>
              <a:gd name="connsiteX11" fmla="*/ 0 w 607639"/>
              <a:gd name="connsiteY11" fmla="*/ 605381 h 605381"/>
              <a:gd name="connsiteX12" fmla="*/ 321849 w 607639"/>
              <a:gd name="connsiteY12" fmla="*/ 269278 h 605381"/>
              <a:gd name="connsiteX13" fmla="*/ 394531 w 607639"/>
              <a:gd name="connsiteY13" fmla="*/ 269278 h 605381"/>
              <a:gd name="connsiteX14" fmla="*/ 394531 w 607639"/>
              <a:gd name="connsiteY14" fmla="*/ 511247 h 605381"/>
              <a:gd name="connsiteX15" fmla="*/ 358501 w 607639"/>
              <a:gd name="connsiteY15" fmla="*/ 511247 h 605381"/>
              <a:gd name="connsiteX16" fmla="*/ 321849 w 607639"/>
              <a:gd name="connsiteY16" fmla="*/ 511247 h 605381"/>
              <a:gd name="connsiteX17" fmla="*/ 212966 w 607639"/>
              <a:gd name="connsiteY17" fmla="*/ 269278 h 605381"/>
              <a:gd name="connsiteX18" fmla="*/ 285790 w 607639"/>
              <a:gd name="connsiteY18" fmla="*/ 269278 h 605381"/>
              <a:gd name="connsiteX19" fmla="*/ 285790 w 607639"/>
              <a:gd name="connsiteY19" fmla="*/ 511247 h 605381"/>
              <a:gd name="connsiteX20" fmla="*/ 249111 w 607639"/>
              <a:gd name="connsiteY20" fmla="*/ 511247 h 605381"/>
              <a:gd name="connsiteX21" fmla="*/ 212966 w 607639"/>
              <a:gd name="connsiteY21" fmla="*/ 511247 h 605381"/>
              <a:gd name="connsiteX22" fmla="*/ 446972 w 607639"/>
              <a:gd name="connsiteY22" fmla="*/ 242181 h 605381"/>
              <a:gd name="connsiteX23" fmla="*/ 553523 w 607639"/>
              <a:gd name="connsiteY23" fmla="*/ 242181 h 605381"/>
              <a:gd name="connsiteX24" fmla="*/ 553523 w 607639"/>
              <a:gd name="connsiteY24" fmla="*/ 453133 h 605381"/>
              <a:gd name="connsiteX25" fmla="*/ 583788 w 607639"/>
              <a:gd name="connsiteY25" fmla="*/ 453133 h 605381"/>
              <a:gd name="connsiteX26" fmla="*/ 583788 w 607639"/>
              <a:gd name="connsiteY26" fmla="*/ 511247 h 605381"/>
              <a:gd name="connsiteX27" fmla="*/ 547648 w 607639"/>
              <a:gd name="connsiteY27" fmla="*/ 511247 h 605381"/>
              <a:gd name="connsiteX28" fmla="*/ 452758 w 607639"/>
              <a:gd name="connsiteY28" fmla="*/ 511247 h 605381"/>
              <a:gd name="connsiteX29" fmla="*/ 416618 w 607639"/>
              <a:gd name="connsiteY29" fmla="*/ 511247 h 605381"/>
              <a:gd name="connsiteX30" fmla="*/ 416618 w 607639"/>
              <a:gd name="connsiteY30" fmla="*/ 453133 h 605381"/>
              <a:gd name="connsiteX31" fmla="*/ 446972 w 607639"/>
              <a:gd name="connsiteY31" fmla="*/ 453133 h 605381"/>
              <a:gd name="connsiteX32" fmla="*/ 54106 w 607639"/>
              <a:gd name="connsiteY32" fmla="*/ 242181 h 605381"/>
              <a:gd name="connsiteX33" fmla="*/ 160624 w 607639"/>
              <a:gd name="connsiteY33" fmla="*/ 242181 h 605381"/>
              <a:gd name="connsiteX34" fmla="*/ 160624 w 607639"/>
              <a:gd name="connsiteY34" fmla="*/ 453133 h 605381"/>
              <a:gd name="connsiteX35" fmla="*/ 190879 w 607639"/>
              <a:gd name="connsiteY35" fmla="*/ 453133 h 605381"/>
              <a:gd name="connsiteX36" fmla="*/ 190879 w 607639"/>
              <a:gd name="connsiteY36" fmla="*/ 511247 h 605381"/>
              <a:gd name="connsiteX37" fmla="*/ 154839 w 607639"/>
              <a:gd name="connsiteY37" fmla="*/ 511247 h 605381"/>
              <a:gd name="connsiteX38" fmla="*/ 59891 w 607639"/>
              <a:gd name="connsiteY38" fmla="*/ 511247 h 605381"/>
              <a:gd name="connsiteX39" fmla="*/ 23851 w 607639"/>
              <a:gd name="connsiteY39" fmla="*/ 511247 h 605381"/>
              <a:gd name="connsiteX40" fmla="*/ 23851 w 607639"/>
              <a:gd name="connsiteY40" fmla="*/ 453133 h 605381"/>
              <a:gd name="connsiteX41" fmla="*/ 54106 w 607639"/>
              <a:gd name="connsiteY41" fmla="*/ 453133 h 605381"/>
              <a:gd name="connsiteX42" fmla="*/ 303820 w 607639"/>
              <a:gd name="connsiteY42" fmla="*/ 98933 h 605381"/>
              <a:gd name="connsiteX43" fmla="*/ 323120 w 607639"/>
              <a:gd name="connsiteY43" fmla="*/ 118162 h 605381"/>
              <a:gd name="connsiteX44" fmla="*/ 303820 w 607639"/>
              <a:gd name="connsiteY44" fmla="*/ 137391 h 605381"/>
              <a:gd name="connsiteX45" fmla="*/ 284520 w 607639"/>
              <a:gd name="connsiteY45" fmla="*/ 118162 h 605381"/>
              <a:gd name="connsiteX46" fmla="*/ 303820 w 607639"/>
              <a:gd name="connsiteY46" fmla="*/ 98933 h 605381"/>
              <a:gd name="connsiteX47" fmla="*/ 303749 w 607639"/>
              <a:gd name="connsiteY47" fmla="*/ 62835 h 605381"/>
              <a:gd name="connsiteX48" fmla="*/ 248388 w 607639"/>
              <a:gd name="connsiteY48" fmla="*/ 118116 h 605381"/>
              <a:gd name="connsiteX49" fmla="*/ 303749 w 607639"/>
              <a:gd name="connsiteY49" fmla="*/ 173397 h 605381"/>
              <a:gd name="connsiteX50" fmla="*/ 359111 w 607639"/>
              <a:gd name="connsiteY50" fmla="*/ 118116 h 605381"/>
              <a:gd name="connsiteX51" fmla="*/ 303749 w 607639"/>
              <a:gd name="connsiteY51" fmla="*/ 62835 h 605381"/>
              <a:gd name="connsiteX52" fmla="*/ 303749 w 607639"/>
              <a:gd name="connsiteY52" fmla="*/ 0 h 605381"/>
              <a:gd name="connsiteX53" fmla="*/ 586964 w 607639"/>
              <a:gd name="connsiteY53" fmla="*/ 141490 h 605381"/>
              <a:gd name="connsiteX54" fmla="*/ 586964 w 607639"/>
              <a:gd name="connsiteY54" fmla="*/ 206192 h 605381"/>
              <a:gd name="connsiteX55" fmla="*/ 20535 w 607639"/>
              <a:gd name="connsiteY55" fmla="*/ 206192 h 605381"/>
              <a:gd name="connsiteX56" fmla="*/ 20535 w 607639"/>
              <a:gd name="connsiteY56" fmla="*/ 141490 h 605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07639" h="605381">
                <a:moveTo>
                  <a:pt x="0" y="547235"/>
                </a:moveTo>
                <a:lnTo>
                  <a:pt x="23853" y="547235"/>
                </a:lnTo>
                <a:lnTo>
                  <a:pt x="36136" y="547235"/>
                </a:lnTo>
                <a:lnTo>
                  <a:pt x="190916" y="547235"/>
                </a:lnTo>
                <a:lnTo>
                  <a:pt x="212990" y="547235"/>
                </a:lnTo>
                <a:lnTo>
                  <a:pt x="394560" y="547235"/>
                </a:lnTo>
                <a:lnTo>
                  <a:pt x="416634" y="547235"/>
                </a:lnTo>
                <a:lnTo>
                  <a:pt x="571503" y="547235"/>
                </a:lnTo>
                <a:lnTo>
                  <a:pt x="583786" y="547235"/>
                </a:lnTo>
                <a:lnTo>
                  <a:pt x="607639" y="547235"/>
                </a:lnTo>
                <a:lnTo>
                  <a:pt x="607639" y="605381"/>
                </a:lnTo>
                <a:lnTo>
                  <a:pt x="0" y="605381"/>
                </a:lnTo>
                <a:close/>
                <a:moveTo>
                  <a:pt x="321849" y="269278"/>
                </a:moveTo>
                <a:lnTo>
                  <a:pt x="394531" y="269278"/>
                </a:lnTo>
                <a:lnTo>
                  <a:pt x="394531" y="511247"/>
                </a:lnTo>
                <a:lnTo>
                  <a:pt x="358501" y="511247"/>
                </a:lnTo>
                <a:lnTo>
                  <a:pt x="321849" y="511247"/>
                </a:lnTo>
                <a:close/>
                <a:moveTo>
                  <a:pt x="212966" y="269278"/>
                </a:moveTo>
                <a:lnTo>
                  <a:pt x="285790" y="269278"/>
                </a:lnTo>
                <a:lnTo>
                  <a:pt x="285790" y="511247"/>
                </a:lnTo>
                <a:lnTo>
                  <a:pt x="249111" y="511247"/>
                </a:lnTo>
                <a:lnTo>
                  <a:pt x="212966" y="511247"/>
                </a:lnTo>
                <a:close/>
                <a:moveTo>
                  <a:pt x="446972" y="242181"/>
                </a:moveTo>
                <a:lnTo>
                  <a:pt x="553523" y="242181"/>
                </a:lnTo>
                <a:lnTo>
                  <a:pt x="553523" y="453133"/>
                </a:lnTo>
                <a:lnTo>
                  <a:pt x="583788" y="453133"/>
                </a:lnTo>
                <a:lnTo>
                  <a:pt x="583788" y="511247"/>
                </a:lnTo>
                <a:lnTo>
                  <a:pt x="547648" y="511247"/>
                </a:lnTo>
                <a:lnTo>
                  <a:pt x="452758" y="511247"/>
                </a:lnTo>
                <a:lnTo>
                  <a:pt x="416618" y="511247"/>
                </a:lnTo>
                <a:lnTo>
                  <a:pt x="416618" y="453133"/>
                </a:lnTo>
                <a:lnTo>
                  <a:pt x="446972" y="453133"/>
                </a:lnTo>
                <a:close/>
                <a:moveTo>
                  <a:pt x="54106" y="242181"/>
                </a:moveTo>
                <a:lnTo>
                  <a:pt x="160624" y="242181"/>
                </a:lnTo>
                <a:lnTo>
                  <a:pt x="160624" y="453133"/>
                </a:lnTo>
                <a:lnTo>
                  <a:pt x="190879" y="453133"/>
                </a:lnTo>
                <a:lnTo>
                  <a:pt x="190879" y="511247"/>
                </a:lnTo>
                <a:lnTo>
                  <a:pt x="154839" y="511247"/>
                </a:lnTo>
                <a:lnTo>
                  <a:pt x="59891" y="511247"/>
                </a:lnTo>
                <a:lnTo>
                  <a:pt x="23851" y="511247"/>
                </a:lnTo>
                <a:lnTo>
                  <a:pt x="23851" y="453133"/>
                </a:lnTo>
                <a:lnTo>
                  <a:pt x="54106" y="453133"/>
                </a:lnTo>
                <a:close/>
                <a:moveTo>
                  <a:pt x="303820" y="98933"/>
                </a:moveTo>
                <a:cubicBezTo>
                  <a:pt x="314479" y="98933"/>
                  <a:pt x="323120" y="107542"/>
                  <a:pt x="323120" y="118162"/>
                </a:cubicBezTo>
                <a:cubicBezTo>
                  <a:pt x="323120" y="128782"/>
                  <a:pt x="314479" y="137391"/>
                  <a:pt x="303820" y="137391"/>
                </a:cubicBezTo>
                <a:cubicBezTo>
                  <a:pt x="293161" y="137391"/>
                  <a:pt x="284520" y="128782"/>
                  <a:pt x="284520" y="118162"/>
                </a:cubicBezTo>
                <a:cubicBezTo>
                  <a:pt x="284520" y="107542"/>
                  <a:pt x="293161" y="98933"/>
                  <a:pt x="303820" y="98933"/>
                </a:cubicBezTo>
                <a:close/>
                <a:moveTo>
                  <a:pt x="303749" y="62835"/>
                </a:moveTo>
                <a:cubicBezTo>
                  <a:pt x="273221" y="62835"/>
                  <a:pt x="248388" y="87631"/>
                  <a:pt x="248388" y="118116"/>
                </a:cubicBezTo>
                <a:cubicBezTo>
                  <a:pt x="248388" y="148600"/>
                  <a:pt x="273221" y="173397"/>
                  <a:pt x="303749" y="173397"/>
                </a:cubicBezTo>
                <a:cubicBezTo>
                  <a:pt x="334278" y="173397"/>
                  <a:pt x="359111" y="148600"/>
                  <a:pt x="359111" y="118116"/>
                </a:cubicBezTo>
                <a:cubicBezTo>
                  <a:pt x="359111" y="87631"/>
                  <a:pt x="334278" y="62835"/>
                  <a:pt x="303749" y="62835"/>
                </a:cubicBezTo>
                <a:close/>
                <a:moveTo>
                  <a:pt x="303749" y="0"/>
                </a:moveTo>
                <a:lnTo>
                  <a:pt x="586964" y="141490"/>
                </a:lnTo>
                <a:lnTo>
                  <a:pt x="586964" y="206192"/>
                </a:lnTo>
                <a:lnTo>
                  <a:pt x="20535" y="206192"/>
                </a:lnTo>
                <a:lnTo>
                  <a:pt x="20535" y="141490"/>
                </a:lnTo>
                <a:close/>
              </a:path>
            </a:pathLst>
          </a:cu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文本框 14"/>
          <p:cNvSpPr txBox="1"/>
          <p:nvPr/>
        </p:nvSpPr>
        <p:spPr bwMode="auto">
          <a:xfrm>
            <a:off x="8839201" y="1236423"/>
            <a:ext cx="2679700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维护软件使用授权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" name="文本框 16"/>
          <p:cNvSpPr txBox="1"/>
          <p:nvPr/>
        </p:nvSpPr>
        <p:spPr bwMode="auto">
          <a:xfrm>
            <a:off x="9179719" y="2807778"/>
            <a:ext cx="2339181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b="1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+mn-ea"/>
              </a:rPr>
              <a:t>便利管理授权</a:t>
            </a:r>
            <a:r>
              <a:rPr lang="zh-CN" altLang="en-US" b="1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+mn-ea"/>
              </a:rPr>
              <a:t>情况</a:t>
            </a:r>
            <a:endParaRPr lang="zh-CN" altLang="en-US" b="1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ea"/>
            </a:endParaRPr>
          </a:p>
        </p:txBody>
      </p:sp>
      <p:sp>
        <p:nvSpPr>
          <p:cNvPr id="19" name="文本框 18"/>
          <p:cNvSpPr txBox="1"/>
          <p:nvPr/>
        </p:nvSpPr>
        <p:spPr bwMode="auto">
          <a:xfrm>
            <a:off x="669925" y="4608034"/>
            <a:ext cx="2244725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减少重复开发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工作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1" name="文本框 20"/>
          <p:cNvSpPr txBox="1"/>
          <p:nvPr/>
        </p:nvSpPr>
        <p:spPr bwMode="auto">
          <a:xfrm>
            <a:off x="673099" y="1130300"/>
            <a:ext cx="358933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 fontScale="90000" lnSpcReduction="2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降低成本，提高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收益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椭圆 11"/>
          <p:cNvSpPr/>
          <p:nvPr/>
        </p:nvSpPr>
        <p:spPr bwMode="auto">
          <a:xfrm>
            <a:off x="8096092" y="1409702"/>
            <a:ext cx="650874" cy="650872"/>
          </a:xfrm>
          <a:prstGeom prst="ellips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任意多边形: 形状 23"/>
          <p:cNvSpPr/>
          <p:nvPr/>
        </p:nvSpPr>
        <p:spPr bwMode="auto">
          <a:xfrm>
            <a:off x="8272353" y="1572549"/>
            <a:ext cx="299621" cy="298506"/>
          </a:xfrm>
          <a:custGeom>
            <a:avLst/>
            <a:gdLst>
              <a:gd name="connsiteX0" fmla="*/ 0 w 607639"/>
              <a:gd name="connsiteY0" fmla="*/ 547235 h 605381"/>
              <a:gd name="connsiteX1" fmla="*/ 23853 w 607639"/>
              <a:gd name="connsiteY1" fmla="*/ 547235 h 605381"/>
              <a:gd name="connsiteX2" fmla="*/ 36136 w 607639"/>
              <a:gd name="connsiteY2" fmla="*/ 547235 h 605381"/>
              <a:gd name="connsiteX3" fmla="*/ 190916 w 607639"/>
              <a:gd name="connsiteY3" fmla="*/ 547235 h 605381"/>
              <a:gd name="connsiteX4" fmla="*/ 212990 w 607639"/>
              <a:gd name="connsiteY4" fmla="*/ 547235 h 605381"/>
              <a:gd name="connsiteX5" fmla="*/ 394560 w 607639"/>
              <a:gd name="connsiteY5" fmla="*/ 547235 h 605381"/>
              <a:gd name="connsiteX6" fmla="*/ 416634 w 607639"/>
              <a:gd name="connsiteY6" fmla="*/ 547235 h 605381"/>
              <a:gd name="connsiteX7" fmla="*/ 571503 w 607639"/>
              <a:gd name="connsiteY7" fmla="*/ 547235 h 605381"/>
              <a:gd name="connsiteX8" fmla="*/ 583786 w 607639"/>
              <a:gd name="connsiteY8" fmla="*/ 547235 h 605381"/>
              <a:gd name="connsiteX9" fmla="*/ 607639 w 607639"/>
              <a:gd name="connsiteY9" fmla="*/ 547235 h 605381"/>
              <a:gd name="connsiteX10" fmla="*/ 607639 w 607639"/>
              <a:gd name="connsiteY10" fmla="*/ 605381 h 605381"/>
              <a:gd name="connsiteX11" fmla="*/ 0 w 607639"/>
              <a:gd name="connsiteY11" fmla="*/ 605381 h 605381"/>
              <a:gd name="connsiteX12" fmla="*/ 321849 w 607639"/>
              <a:gd name="connsiteY12" fmla="*/ 269278 h 605381"/>
              <a:gd name="connsiteX13" fmla="*/ 394531 w 607639"/>
              <a:gd name="connsiteY13" fmla="*/ 269278 h 605381"/>
              <a:gd name="connsiteX14" fmla="*/ 394531 w 607639"/>
              <a:gd name="connsiteY14" fmla="*/ 511247 h 605381"/>
              <a:gd name="connsiteX15" fmla="*/ 358501 w 607639"/>
              <a:gd name="connsiteY15" fmla="*/ 511247 h 605381"/>
              <a:gd name="connsiteX16" fmla="*/ 321849 w 607639"/>
              <a:gd name="connsiteY16" fmla="*/ 511247 h 605381"/>
              <a:gd name="connsiteX17" fmla="*/ 212966 w 607639"/>
              <a:gd name="connsiteY17" fmla="*/ 269278 h 605381"/>
              <a:gd name="connsiteX18" fmla="*/ 285790 w 607639"/>
              <a:gd name="connsiteY18" fmla="*/ 269278 h 605381"/>
              <a:gd name="connsiteX19" fmla="*/ 285790 w 607639"/>
              <a:gd name="connsiteY19" fmla="*/ 511247 h 605381"/>
              <a:gd name="connsiteX20" fmla="*/ 249111 w 607639"/>
              <a:gd name="connsiteY20" fmla="*/ 511247 h 605381"/>
              <a:gd name="connsiteX21" fmla="*/ 212966 w 607639"/>
              <a:gd name="connsiteY21" fmla="*/ 511247 h 605381"/>
              <a:gd name="connsiteX22" fmla="*/ 446972 w 607639"/>
              <a:gd name="connsiteY22" fmla="*/ 242181 h 605381"/>
              <a:gd name="connsiteX23" fmla="*/ 553523 w 607639"/>
              <a:gd name="connsiteY23" fmla="*/ 242181 h 605381"/>
              <a:gd name="connsiteX24" fmla="*/ 553523 w 607639"/>
              <a:gd name="connsiteY24" fmla="*/ 453133 h 605381"/>
              <a:gd name="connsiteX25" fmla="*/ 583788 w 607639"/>
              <a:gd name="connsiteY25" fmla="*/ 453133 h 605381"/>
              <a:gd name="connsiteX26" fmla="*/ 583788 w 607639"/>
              <a:gd name="connsiteY26" fmla="*/ 511247 h 605381"/>
              <a:gd name="connsiteX27" fmla="*/ 547648 w 607639"/>
              <a:gd name="connsiteY27" fmla="*/ 511247 h 605381"/>
              <a:gd name="connsiteX28" fmla="*/ 452758 w 607639"/>
              <a:gd name="connsiteY28" fmla="*/ 511247 h 605381"/>
              <a:gd name="connsiteX29" fmla="*/ 416618 w 607639"/>
              <a:gd name="connsiteY29" fmla="*/ 511247 h 605381"/>
              <a:gd name="connsiteX30" fmla="*/ 416618 w 607639"/>
              <a:gd name="connsiteY30" fmla="*/ 453133 h 605381"/>
              <a:gd name="connsiteX31" fmla="*/ 446972 w 607639"/>
              <a:gd name="connsiteY31" fmla="*/ 453133 h 605381"/>
              <a:gd name="connsiteX32" fmla="*/ 54106 w 607639"/>
              <a:gd name="connsiteY32" fmla="*/ 242181 h 605381"/>
              <a:gd name="connsiteX33" fmla="*/ 160624 w 607639"/>
              <a:gd name="connsiteY33" fmla="*/ 242181 h 605381"/>
              <a:gd name="connsiteX34" fmla="*/ 160624 w 607639"/>
              <a:gd name="connsiteY34" fmla="*/ 453133 h 605381"/>
              <a:gd name="connsiteX35" fmla="*/ 190879 w 607639"/>
              <a:gd name="connsiteY35" fmla="*/ 453133 h 605381"/>
              <a:gd name="connsiteX36" fmla="*/ 190879 w 607639"/>
              <a:gd name="connsiteY36" fmla="*/ 511247 h 605381"/>
              <a:gd name="connsiteX37" fmla="*/ 154839 w 607639"/>
              <a:gd name="connsiteY37" fmla="*/ 511247 h 605381"/>
              <a:gd name="connsiteX38" fmla="*/ 59891 w 607639"/>
              <a:gd name="connsiteY38" fmla="*/ 511247 h 605381"/>
              <a:gd name="connsiteX39" fmla="*/ 23851 w 607639"/>
              <a:gd name="connsiteY39" fmla="*/ 511247 h 605381"/>
              <a:gd name="connsiteX40" fmla="*/ 23851 w 607639"/>
              <a:gd name="connsiteY40" fmla="*/ 453133 h 605381"/>
              <a:gd name="connsiteX41" fmla="*/ 54106 w 607639"/>
              <a:gd name="connsiteY41" fmla="*/ 453133 h 605381"/>
              <a:gd name="connsiteX42" fmla="*/ 303820 w 607639"/>
              <a:gd name="connsiteY42" fmla="*/ 98933 h 605381"/>
              <a:gd name="connsiteX43" fmla="*/ 323120 w 607639"/>
              <a:gd name="connsiteY43" fmla="*/ 118162 h 605381"/>
              <a:gd name="connsiteX44" fmla="*/ 303820 w 607639"/>
              <a:gd name="connsiteY44" fmla="*/ 137391 h 605381"/>
              <a:gd name="connsiteX45" fmla="*/ 284520 w 607639"/>
              <a:gd name="connsiteY45" fmla="*/ 118162 h 605381"/>
              <a:gd name="connsiteX46" fmla="*/ 303820 w 607639"/>
              <a:gd name="connsiteY46" fmla="*/ 98933 h 605381"/>
              <a:gd name="connsiteX47" fmla="*/ 303749 w 607639"/>
              <a:gd name="connsiteY47" fmla="*/ 62835 h 605381"/>
              <a:gd name="connsiteX48" fmla="*/ 248388 w 607639"/>
              <a:gd name="connsiteY48" fmla="*/ 118116 h 605381"/>
              <a:gd name="connsiteX49" fmla="*/ 303749 w 607639"/>
              <a:gd name="connsiteY49" fmla="*/ 173397 h 605381"/>
              <a:gd name="connsiteX50" fmla="*/ 359111 w 607639"/>
              <a:gd name="connsiteY50" fmla="*/ 118116 h 605381"/>
              <a:gd name="connsiteX51" fmla="*/ 303749 w 607639"/>
              <a:gd name="connsiteY51" fmla="*/ 62835 h 605381"/>
              <a:gd name="connsiteX52" fmla="*/ 303749 w 607639"/>
              <a:gd name="connsiteY52" fmla="*/ 0 h 605381"/>
              <a:gd name="connsiteX53" fmla="*/ 586964 w 607639"/>
              <a:gd name="connsiteY53" fmla="*/ 141490 h 605381"/>
              <a:gd name="connsiteX54" fmla="*/ 586964 w 607639"/>
              <a:gd name="connsiteY54" fmla="*/ 206192 h 605381"/>
              <a:gd name="connsiteX55" fmla="*/ 20535 w 607639"/>
              <a:gd name="connsiteY55" fmla="*/ 206192 h 605381"/>
              <a:gd name="connsiteX56" fmla="*/ 20535 w 607639"/>
              <a:gd name="connsiteY56" fmla="*/ 141490 h 605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07639" h="605381">
                <a:moveTo>
                  <a:pt x="0" y="547235"/>
                </a:moveTo>
                <a:lnTo>
                  <a:pt x="23853" y="547235"/>
                </a:lnTo>
                <a:lnTo>
                  <a:pt x="36136" y="547235"/>
                </a:lnTo>
                <a:lnTo>
                  <a:pt x="190916" y="547235"/>
                </a:lnTo>
                <a:lnTo>
                  <a:pt x="212990" y="547235"/>
                </a:lnTo>
                <a:lnTo>
                  <a:pt x="394560" y="547235"/>
                </a:lnTo>
                <a:lnTo>
                  <a:pt x="416634" y="547235"/>
                </a:lnTo>
                <a:lnTo>
                  <a:pt x="571503" y="547235"/>
                </a:lnTo>
                <a:lnTo>
                  <a:pt x="583786" y="547235"/>
                </a:lnTo>
                <a:lnTo>
                  <a:pt x="607639" y="547235"/>
                </a:lnTo>
                <a:lnTo>
                  <a:pt x="607639" y="605381"/>
                </a:lnTo>
                <a:lnTo>
                  <a:pt x="0" y="605381"/>
                </a:lnTo>
                <a:close/>
                <a:moveTo>
                  <a:pt x="321849" y="269278"/>
                </a:moveTo>
                <a:lnTo>
                  <a:pt x="394531" y="269278"/>
                </a:lnTo>
                <a:lnTo>
                  <a:pt x="394531" y="511247"/>
                </a:lnTo>
                <a:lnTo>
                  <a:pt x="358501" y="511247"/>
                </a:lnTo>
                <a:lnTo>
                  <a:pt x="321849" y="511247"/>
                </a:lnTo>
                <a:close/>
                <a:moveTo>
                  <a:pt x="212966" y="269278"/>
                </a:moveTo>
                <a:lnTo>
                  <a:pt x="285790" y="269278"/>
                </a:lnTo>
                <a:lnTo>
                  <a:pt x="285790" y="511247"/>
                </a:lnTo>
                <a:lnTo>
                  <a:pt x="249111" y="511247"/>
                </a:lnTo>
                <a:lnTo>
                  <a:pt x="212966" y="511247"/>
                </a:lnTo>
                <a:close/>
                <a:moveTo>
                  <a:pt x="446972" y="242181"/>
                </a:moveTo>
                <a:lnTo>
                  <a:pt x="553523" y="242181"/>
                </a:lnTo>
                <a:lnTo>
                  <a:pt x="553523" y="453133"/>
                </a:lnTo>
                <a:lnTo>
                  <a:pt x="583788" y="453133"/>
                </a:lnTo>
                <a:lnTo>
                  <a:pt x="583788" y="511247"/>
                </a:lnTo>
                <a:lnTo>
                  <a:pt x="547648" y="511247"/>
                </a:lnTo>
                <a:lnTo>
                  <a:pt x="452758" y="511247"/>
                </a:lnTo>
                <a:lnTo>
                  <a:pt x="416618" y="511247"/>
                </a:lnTo>
                <a:lnTo>
                  <a:pt x="416618" y="453133"/>
                </a:lnTo>
                <a:lnTo>
                  <a:pt x="446972" y="453133"/>
                </a:lnTo>
                <a:close/>
                <a:moveTo>
                  <a:pt x="54106" y="242181"/>
                </a:moveTo>
                <a:lnTo>
                  <a:pt x="160624" y="242181"/>
                </a:lnTo>
                <a:lnTo>
                  <a:pt x="160624" y="453133"/>
                </a:lnTo>
                <a:lnTo>
                  <a:pt x="190879" y="453133"/>
                </a:lnTo>
                <a:lnTo>
                  <a:pt x="190879" y="511247"/>
                </a:lnTo>
                <a:lnTo>
                  <a:pt x="154839" y="511247"/>
                </a:lnTo>
                <a:lnTo>
                  <a:pt x="59891" y="511247"/>
                </a:lnTo>
                <a:lnTo>
                  <a:pt x="23851" y="511247"/>
                </a:lnTo>
                <a:lnTo>
                  <a:pt x="23851" y="453133"/>
                </a:lnTo>
                <a:lnTo>
                  <a:pt x="54106" y="453133"/>
                </a:lnTo>
                <a:close/>
                <a:moveTo>
                  <a:pt x="303820" y="98933"/>
                </a:moveTo>
                <a:cubicBezTo>
                  <a:pt x="314479" y="98933"/>
                  <a:pt x="323120" y="107542"/>
                  <a:pt x="323120" y="118162"/>
                </a:cubicBezTo>
                <a:cubicBezTo>
                  <a:pt x="323120" y="128782"/>
                  <a:pt x="314479" y="137391"/>
                  <a:pt x="303820" y="137391"/>
                </a:cubicBezTo>
                <a:cubicBezTo>
                  <a:pt x="293161" y="137391"/>
                  <a:pt x="284520" y="128782"/>
                  <a:pt x="284520" y="118162"/>
                </a:cubicBezTo>
                <a:cubicBezTo>
                  <a:pt x="284520" y="107542"/>
                  <a:pt x="293161" y="98933"/>
                  <a:pt x="303820" y="98933"/>
                </a:cubicBezTo>
                <a:close/>
                <a:moveTo>
                  <a:pt x="303749" y="62835"/>
                </a:moveTo>
                <a:cubicBezTo>
                  <a:pt x="273221" y="62835"/>
                  <a:pt x="248388" y="87631"/>
                  <a:pt x="248388" y="118116"/>
                </a:cubicBezTo>
                <a:cubicBezTo>
                  <a:pt x="248388" y="148600"/>
                  <a:pt x="273221" y="173397"/>
                  <a:pt x="303749" y="173397"/>
                </a:cubicBezTo>
                <a:cubicBezTo>
                  <a:pt x="334278" y="173397"/>
                  <a:pt x="359111" y="148600"/>
                  <a:pt x="359111" y="118116"/>
                </a:cubicBezTo>
                <a:cubicBezTo>
                  <a:pt x="359111" y="87631"/>
                  <a:pt x="334278" y="62835"/>
                  <a:pt x="303749" y="62835"/>
                </a:cubicBezTo>
                <a:close/>
                <a:moveTo>
                  <a:pt x="303749" y="0"/>
                </a:moveTo>
                <a:lnTo>
                  <a:pt x="586964" y="141490"/>
                </a:lnTo>
                <a:lnTo>
                  <a:pt x="586964" y="206192"/>
                </a:lnTo>
                <a:lnTo>
                  <a:pt x="20535" y="206192"/>
                </a:lnTo>
                <a:lnTo>
                  <a:pt x="20535" y="141490"/>
                </a:lnTo>
                <a:close/>
              </a:path>
            </a:pathLst>
          </a:cu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7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ISLIDE.SHOWCASE" val="31064b5a-bc9d-4a88-a0ca-32d10f620cd7"/>
  <p:tag name="KSO_WPP_MARK_KEY" val="c821d66b-cfc9-4047-b74a-c0d55981e93a"/>
  <p:tag name="COMMONDATA" val="eyJoZGlkIjoiY2RkNjM1NjliMGE1NTgzNzc4YTVhYTAxMTgxMjZlZjQifQ==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BE1F1E"/>
      </a:accent1>
      <a:accent2>
        <a:srgbClr val="414141"/>
      </a:accent2>
      <a:accent3>
        <a:srgbClr val="797979"/>
      </a:accent3>
      <a:accent4>
        <a:srgbClr val="606060"/>
      </a:accent4>
      <a:accent5>
        <a:srgbClr val="666666"/>
      </a:accent5>
      <a:accent6>
        <a:srgbClr val="4C4C4C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939</Words>
  <Application>WPS 演示</Application>
  <PresentationFormat>宽屏</PresentationFormat>
  <Paragraphs>162</Paragraphs>
  <Slides>1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3</vt:i4>
      </vt:variant>
    </vt:vector>
  </HeadingPairs>
  <TitlesOfParts>
    <vt:vector size="24" baseType="lpstr">
      <vt:lpstr>Arial</vt:lpstr>
      <vt:lpstr>宋体</vt:lpstr>
      <vt:lpstr>Wingdings</vt:lpstr>
      <vt:lpstr>微软雅黑</vt:lpstr>
      <vt:lpstr>Impact</vt:lpstr>
      <vt:lpstr>Arial Unicode MS</vt:lpstr>
      <vt:lpstr>Calibri</vt:lpstr>
      <vt:lpstr>等线</vt:lpstr>
      <vt:lpstr>主题5</vt:lpstr>
      <vt:lpstr>TCLayout.ActiveDocument.1</vt:lpstr>
      <vt:lpstr>TCLayout.ActiveDocument.1</vt:lpstr>
      <vt:lpstr>开题答辩</vt:lpstr>
      <vt:lpstr>PowerPoint 演示文稿</vt:lpstr>
      <vt:lpstr>背景</vt:lpstr>
      <vt:lpstr>背景</vt:lpstr>
      <vt:lpstr>现状</vt:lpstr>
      <vt:lpstr>现状</vt:lpstr>
      <vt:lpstr>现状</vt:lpstr>
      <vt:lpstr>意义</vt:lpstr>
      <vt:lpstr>意义</vt:lpstr>
      <vt:lpstr>计划</vt:lpstr>
      <vt:lpstr>Click to edit Master title style</vt:lpstr>
      <vt:lpstr>计划</vt:lpstr>
      <vt:lpstr>Thanks 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黄希</cp:lastModifiedBy>
  <cp:revision>7</cp:revision>
  <cp:lastPrinted>2019-09-10T16:00:00Z</cp:lastPrinted>
  <dcterms:created xsi:type="dcterms:W3CDTF">2019-09-10T16:00:00Z</dcterms:created>
  <dcterms:modified xsi:type="dcterms:W3CDTF">2022-12-17T00:5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5DA2C4EA9C7C41A69FAB8AAFE3DD0FDE</vt:lpwstr>
  </property>
  <property fmtid="{D5CDD505-2E9C-101B-9397-08002B2CF9AE}" pid="4" name="KSOProductBuildVer">
    <vt:lpwstr>2052-11.1.0.12980</vt:lpwstr>
  </property>
</Properties>
</file>